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tags/tag47.xml" ContentType="application/vnd.openxmlformats-officedocument.presentationml.tags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notesSlides/notesSlide14.xml" ContentType="application/vnd.openxmlformats-officedocument.presentationml.notesSlide+xml"/>
  <Override PartName="/ppt/tags/tag50.xml" ContentType="application/vnd.openxmlformats-officedocument.presentationml.tags+xml"/>
  <Override PartName="/ppt/notesSlides/notesSlide15.xml" ContentType="application/vnd.openxmlformats-officedocument.presentationml.notesSlide+xml"/>
  <Override PartName="/ppt/tags/tag51.xml" ContentType="application/vnd.openxmlformats-officedocument.presentationml.tags+xml"/>
  <Override PartName="/ppt/notesSlides/notesSlide16.xml" ContentType="application/vnd.openxmlformats-officedocument.presentationml.notesSlide+xml"/>
  <Override PartName="/ppt/tags/tag52.xml" ContentType="application/vnd.openxmlformats-officedocument.presentationml.tags+xml"/>
  <Override PartName="/ppt/notesSlides/notesSlide17.xml" ContentType="application/vnd.openxmlformats-officedocument.presentationml.notesSlide+xml"/>
  <Override PartName="/ppt/tags/tag53.xml" ContentType="application/vnd.openxmlformats-officedocument.presentationml.tags+xml"/>
  <Override PartName="/ppt/notesSlides/notesSlide18.xml" ContentType="application/vnd.openxmlformats-officedocument.presentationml.notesSlide+xml"/>
  <Override PartName="/ppt/tags/tag54.xml" ContentType="application/vnd.openxmlformats-officedocument.presentationml.tags+xml"/>
  <Override PartName="/ppt/notesSlides/notesSlide19.xml" ContentType="application/vnd.openxmlformats-officedocument.presentationml.notesSlide+xml"/>
  <Override PartName="/ppt/tags/tag55.xml" ContentType="application/vnd.openxmlformats-officedocument.presentationml.tags+xml"/>
  <Override PartName="/ppt/notesSlides/notesSlide20.xml" ContentType="application/vnd.openxmlformats-officedocument.presentationml.notesSlide+xml"/>
  <Override PartName="/ppt/tags/tag56.xml" ContentType="application/vnd.openxmlformats-officedocument.presentationml.tags+xml"/>
  <Override PartName="/ppt/notesSlides/notesSlide21.xml" ContentType="application/vnd.openxmlformats-officedocument.presentationml.notesSlide+xml"/>
  <Override PartName="/ppt/tags/tag57.xml" ContentType="application/vnd.openxmlformats-officedocument.presentationml.tags+xml"/>
  <Override PartName="/ppt/notesSlides/notesSlide22.xml" ContentType="application/vnd.openxmlformats-officedocument.presentationml.notesSlide+xml"/>
  <Override PartName="/ppt/tags/tag58.xml" ContentType="application/vnd.openxmlformats-officedocument.presentationml.tags+xml"/>
  <Override PartName="/ppt/notesSlides/notesSlide23.xml" ContentType="application/vnd.openxmlformats-officedocument.presentationml.notesSlide+xml"/>
  <Override PartName="/ppt/tags/tag59.xml" ContentType="application/vnd.openxmlformats-officedocument.presentationml.tags+xml"/>
  <Override PartName="/ppt/notesSlides/notesSlide24.xml" ContentType="application/vnd.openxmlformats-officedocument.presentationml.notesSlide+xml"/>
  <Override PartName="/ppt/tags/tag60.xml" ContentType="application/vnd.openxmlformats-officedocument.presentationml.tags+xml"/>
  <Override PartName="/ppt/notesSlides/notesSlide25.xml" ContentType="application/vnd.openxmlformats-officedocument.presentationml.notesSlide+xml"/>
  <Override PartName="/ppt/tags/tag61.xml" ContentType="application/vnd.openxmlformats-officedocument.presentationml.tags+xml"/>
  <Override PartName="/ppt/notesSlides/notesSlide26.xml" ContentType="application/vnd.openxmlformats-officedocument.presentationml.notesSlide+xml"/>
  <Override PartName="/ppt/tags/tag62.xml" ContentType="application/vnd.openxmlformats-officedocument.presentationml.tags+xml"/>
  <Override PartName="/ppt/notesSlides/notesSlide27.xml" ContentType="application/vnd.openxmlformats-officedocument.presentationml.notesSlide+xml"/>
  <Override PartName="/ppt/tags/tag63.xml" ContentType="application/vnd.openxmlformats-officedocument.presentationml.tags+xml"/>
  <Override PartName="/ppt/notesSlides/notesSlide28.xml" ContentType="application/vnd.openxmlformats-officedocument.presentationml.notesSlide+xml"/>
  <Override PartName="/ppt/tags/tag64.xml" ContentType="application/vnd.openxmlformats-officedocument.presentationml.tags+xml"/>
  <Override PartName="/ppt/notesSlides/notesSlide29.xml" ContentType="application/vnd.openxmlformats-officedocument.presentationml.notesSlide+xml"/>
  <Override PartName="/ppt/tags/tag65.xml" ContentType="application/vnd.openxmlformats-officedocument.presentationml.tags+xml"/>
  <Override PartName="/ppt/notesSlides/notesSlide30.xml" ContentType="application/vnd.openxmlformats-officedocument.presentationml.notesSlide+xml"/>
  <Override PartName="/ppt/tags/tag66.xml" ContentType="application/vnd.openxmlformats-officedocument.presentationml.tags+xml"/>
  <Override PartName="/ppt/notesSlides/notesSlide31.xml" ContentType="application/vnd.openxmlformats-officedocument.presentationml.notesSlide+xml"/>
  <Override PartName="/ppt/tags/tag67.xml" ContentType="application/vnd.openxmlformats-officedocument.presentationml.tags+xml"/>
  <Override PartName="/ppt/notesSlides/notesSlide32.xml" ContentType="application/vnd.openxmlformats-officedocument.presentationml.notesSlide+xml"/>
  <Override PartName="/ppt/tags/tag68.xml" ContentType="application/vnd.openxmlformats-officedocument.presentationml.tags+xml"/>
  <Override PartName="/ppt/notesSlides/notesSlide33.xml" ContentType="application/vnd.openxmlformats-officedocument.presentationml.notesSlide+xml"/>
  <Override PartName="/ppt/tags/tag69.xml" ContentType="application/vnd.openxmlformats-officedocument.presentationml.tags+xml"/>
  <Override PartName="/ppt/notesSlides/notesSlide3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8" r:id="rId6"/>
    <p:sldMasterId id="2147483701" r:id="rId7"/>
  </p:sldMasterIdLst>
  <p:notesMasterIdLst>
    <p:notesMasterId r:id="rId42"/>
  </p:notesMasterIdLst>
  <p:handoutMasterIdLst>
    <p:handoutMasterId r:id="rId43"/>
  </p:handoutMasterIdLst>
  <p:sldIdLst>
    <p:sldId id="4323" r:id="rId8"/>
    <p:sldId id="4349" r:id="rId9"/>
    <p:sldId id="4347" r:id="rId10"/>
    <p:sldId id="4357" r:id="rId11"/>
    <p:sldId id="2145704747" r:id="rId12"/>
    <p:sldId id="2145704720" r:id="rId13"/>
    <p:sldId id="2145704742" r:id="rId14"/>
    <p:sldId id="2145704743" r:id="rId15"/>
    <p:sldId id="2145704744" r:id="rId16"/>
    <p:sldId id="2145704745" r:id="rId17"/>
    <p:sldId id="2145704754" r:id="rId18"/>
    <p:sldId id="2145704746" r:id="rId19"/>
    <p:sldId id="2145704723" r:id="rId20"/>
    <p:sldId id="2145704732" r:id="rId21"/>
    <p:sldId id="2145704733" r:id="rId22"/>
    <p:sldId id="2145704731" r:id="rId23"/>
    <p:sldId id="2145704752" r:id="rId24"/>
    <p:sldId id="2145704734" r:id="rId25"/>
    <p:sldId id="2145704739" r:id="rId26"/>
    <p:sldId id="2145704749" r:id="rId27"/>
    <p:sldId id="2145704758" r:id="rId28"/>
    <p:sldId id="2145704757" r:id="rId29"/>
    <p:sldId id="2145704756" r:id="rId30"/>
    <p:sldId id="2145704708" r:id="rId31"/>
    <p:sldId id="4355" r:id="rId32"/>
    <p:sldId id="2145704709" r:id="rId33"/>
    <p:sldId id="2145704728" r:id="rId34"/>
    <p:sldId id="4352" r:id="rId35"/>
    <p:sldId id="2145704751" r:id="rId36"/>
    <p:sldId id="2145704748" r:id="rId37"/>
    <p:sldId id="2145704755" r:id="rId38"/>
    <p:sldId id="4353" r:id="rId39"/>
    <p:sldId id="2145704737" r:id="rId40"/>
    <p:sldId id="4363" r:id="rId41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BD2409-4783-94C6-24ED-8F104993044D}" name="Gwen Earp" initials="GE" userId="S::gwen.earp@ncosc.gov::7bfa86de-9fea-4123-abc5-e80c6336bff7" providerId="AD"/>
  <p188:author id="{2641430B-19C4-79B1-E62B-D1A6EE0B05D3}" name="Lena Andrade" initials="LA" userId="S::lena.andrade@ncosc.gov::66f130b5-8f6a-4cce-94d9-10c7f9b5d180" providerId="AD"/>
  <p188:author id="{C218A627-5283-A4F2-9910-44B59D99441F}" name="Frank Newsom" initials="FN" userId="S::frank.newsom@ncosc.gov::ad68d3cd-c08c-4937-a778-120681219286" providerId="AD"/>
  <p188:author id="{23F33246-ECC7-C865-68FE-E434F8A3A64D}" name="Taylor Brumbeloe" initials="TB" userId="S::taylor.brumbeloe@ncosc.gov::99848075-0e08-4b90-82f6-9f892778f08b" providerId="AD"/>
  <p188:author id="{192D196E-ECE6-4E6E-86A1-64861800E523}" name="Frank Newsom" initials="FN" userId="S::Frank.Newsom@ncosc.gov::ad68d3cd-c08c-4937-a778-120681219286" providerId="AD"/>
  <p188:author id="{2DE5A0C3-580F-2F34-7396-755BB9138AE9}" name="Jan Prevo" initials="JP" userId="S::Jan.Prevo@ncosc.gov::a97f2b47-fee0-4f84-a663-b1d45b4d0254" providerId="AD"/>
  <p188:author id="{5FFD5EC7-24BA-7122-E4FE-9FD239624251}" name="Dawn Parrish" initials="" userId="S::dawn.parrish@ncosc.gov::a5329d7b-fb97-402e-a1e0-6006cd4cdd5b" providerId="AD"/>
  <p188:author id="{9C9466CA-2685-3DBB-8AFE-3ED4F8D16A76}" name="Laura Lee" initials="LL" userId="S::Laura.Lee@ncosc.gov::3ca4bf71-309b-40f8-91fc-8d2ab8f2c4fc" providerId="AD"/>
  <p188:author id="{D0C2BECF-410D-4987-EAEF-28990FD44FF9}" name="Newsom, Frank" initials="NF" userId="S::Frank.Newsom@osc.nc.gov::43263cff-9d6c-4aab-839d-9e2757de01af" providerId="AD"/>
  <p188:author id="{CE22EFE6-239D-4DFF-DCD9-5B2B9C65254B}" name="Jan Prevo" initials="JP" userId="S::jan.prevo@ncosc.gov::a97f2b47-fee0-4f84-a663-b1d45b4d0254" providerId="AD"/>
  <p188:author id="{1F223AF6-030B-9F69-965C-2378D7A04DE3}" name="Lena Andrade" initials="LA" userId="S::Lena.Andrade@ncosc.gov::66f130b5-8f6a-4cce-94d9-10c7f9b5d18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loyd, David R" initials="LDR" lastIdx="23" clrIdx="0">
    <p:extLst>
      <p:ext uri="{19B8F6BF-5375-455C-9EA6-DF929625EA0E}">
        <p15:presenceInfo xmlns:p15="http://schemas.microsoft.com/office/powerpoint/2012/main" userId="Lloyd, David 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B7C"/>
    <a:srgbClr val="DED5D0"/>
    <a:srgbClr val="F8F8F8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00BEE2-F66A-4F76-882A-CD725762ACE9}" v="11" dt="2026-04-30T19:37:39.0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43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gs" Target="tags/tag1.xml"/><Relationship Id="rId52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pril Durrence" userId="2314a7d0-99d3-4144-8a7f-648170c8b7b7" providerId="ADAL" clId="{EAE80DB9-CB43-4440-9E5C-0B0573E509B3}"/>
    <pc:docChg chg="undo custSel addSld delSld modSld">
      <pc:chgData name="April Durrence" userId="2314a7d0-99d3-4144-8a7f-648170c8b7b7" providerId="ADAL" clId="{EAE80DB9-CB43-4440-9E5C-0B0573E509B3}" dt="2026-04-30T20:32:11.229" v="1112" actId="962"/>
      <pc:docMkLst>
        <pc:docMk/>
      </pc:docMkLst>
      <pc:sldChg chg="modSp mod">
        <pc:chgData name="April Durrence" userId="2314a7d0-99d3-4144-8a7f-648170c8b7b7" providerId="ADAL" clId="{EAE80DB9-CB43-4440-9E5C-0B0573E509B3}" dt="2026-04-30T18:29:28.374" v="43" actId="13244"/>
        <pc:sldMkLst>
          <pc:docMk/>
          <pc:sldMk cId="2946020307" sldId="4352"/>
        </pc:sldMkLst>
        <pc:spChg chg="mod ord">
          <ac:chgData name="April Durrence" userId="2314a7d0-99d3-4144-8a7f-648170c8b7b7" providerId="ADAL" clId="{EAE80DB9-CB43-4440-9E5C-0B0573E509B3}" dt="2026-04-30T18:29:28.374" v="43" actId="13244"/>
          <ac:spMkLst>
            <pc:docMk/>
            <pc:sldMk cId="2946020307" sldId="4352"/>
            <ac:spMk id="3" creationId="{32D73CF9-245D-0C1E-405F-181D26DDF4C7}"/>
          </ac:spMkLst>
        </pc:spChg>
      </pc:sldChg>
      <pc:sldChg chg="modSp mod">
        <pc:chgData name="April Durrence" userId="2314a7d0-99d3-4144-8a7f-648170c8b7b7" providerId="ADAL" clId="{EAE80DB9-CB43-4440-9E5C-0B0573E509B3}" dt="2026-04-30T18:32:19.964" v="64" actId="404"/>
        <pc:sldMkLst>
          <pc:docMk/>
          <pc:sldMk cId="2620713188" sldId="4353"/>
        </pc:sldMkLst>
        <pc:spChg chg="mod ord">
          <ac:chgData name="April Durrence" userId="2314a7d0-99d3-4144-8a7f-648170c8b7b7" providerId="ADAL" clId="{EAE80DB9-CB43-4440-9E5C-0B0573E509B3}" dt="2026-04-30T18:31:10.690" v="55" actId="962"/>
          <ac:spMkLst>
            <pc:docMk/>
            <pc:sldMk cId="2620713188" sldId="4353"/>
            <ac:spMk id="3" creationId="{5A3D91CF-BF08-8332-1B8C-F44DE84E321F}"/>
          </ac:spMkLst>
        </pc:spChg>
        <pc:spChg chg="mod">
          <ac:chgData name="April Durrence" userId="2314a7d0-99d3-4144-8a7f-648170c8b7b7" providerId="ADAL" clId="{EAE80DB9-CB43-4440-9E5C-0B0573E509B3}" dt="2026-04-30T18:32:19.964" v="64" actId="404"/>
          <ac:spMkLst>
            <pc:docMk/>
            <pc:sldMk cId="2620713188" sldId="4353"/>
            <ac:spMk id="4" creationId="{509CE8E7-3E39-AAE0-C6B3-65BDB42D7A6A}"/>
          </ac:spMkLst>
        </pc:spChg>
      </pc:sldChg>
      <pc:sldChg chg="modSp mod">
        <pc:chgData name="April Durrence" userId="2314a7d0-99d3-4144-8a7f-648170c8b7b7" providerId="ADAL" clId="{EAE80DB9-CB43-4440-9E5C-0B0573E509B3}" dt="2026-04-30T18:26:44.257" v="14" actId="13244"/>
        <pc:sldMkLst>
          <pc:docMk/>
          <pc:sldMk cId="439895174" sldId="4355"/>
        </pc:sldMkLst>
        <pc:spChg chg="mod ord">
          <ac:chgData name="April Durrence" userId="2314a7d0-99d3-4144-8a7f-648170c8b7b7" providerId="ADAL" clId="{EAE80DB9-CB43-4440-9E5C-0B0573E509B3}" dt="2026-04-30T18:26:44.257" v="14" actId="13244"/>
          <ac:spMkLst>
            <pc:docMk/>
            <pc:sldMk cId="439895174" sldId="4355"/>
            <ac:spMk id="3" creationId="{19AC1B34-E25D-976F-363A-E03A0C816A2D}"/>
          </ac:spMkLst>
        </pc:spChg>
      </pc:sldChg>
      <pc:sldChg chg="modSp mod">
        <pc:chgData name="April Durrence" userId="2314a7d0-99d3-4144-8a7f-648170c8b7b7" providerId="ADAL" clId="{EAE80DB9-CB43-4440-9E5C-0B0573E509B3}" dt="2026-04-30T18:54:17.877" v="156" actId="1076"/>
        <pc:sldMkLst>
          <pc:docMk/>
          <pc:sldMk cId="1979173307" sldId="4357"/>
        </pc:sldMkLst>
        <pc:spChg chg="mod">
          <ac:chgData name="April Durrence" userId="2314a7d0-99d3-4144-8a7f-648170c8b7b7" providerId="ADAL" clId="{EAE80DB9-CB43-4440-9E5C-0B0573E509B3}" dt="2026-04-30T18:53:20.490" v="152" actId="1076"/>
          <ac:spMkLst>
            <pc:docMk/>
            <pc:sldMk cId="1979173307" sldId="4357"/>
            <ac:spMk id="4" creationId="{86C3FFB1-FD3F-8B5B-A8E3-B4784FE4EBF1}"/>
          </ac:spMkLst>
        </pc:spChg>
        <pc:spChg chg="mod">
          <ac:chgData name="April Durrence" userId="2314a7d0-99d3-4144-8a7f-648170c8b7b7" providerId="ADAL" clId="{EAE80DB9-CB43-4440-9E5C-0B0573E509B3}" dt="2026-04-30T18:53:57.866" v="155" actId="1076"/>
          <ac:spMkLst>
            <pc:docMk/>
            <pc:sldMk cId="1979173307" sldId="4357"/>
            <ac:spMk id="15" creationId="{1EB1F3DE-5BB7-312F-4C3D-A7C5CACE8FF7}"/>
          </ac:spMkLst>
        </pc:spChg>
        <pc:spChg chg="mod">
          <ac:chgData name="April Durrence" userId="2314a7d0-99d3-4144-8a7f-648170c8b7b7" providerId="ADAL" clId="{EAE80DB9-CB43-4440-9E5C-0B0573E509B3}" dt="2026-04-30T18:54:17.877" v="156" actId="1076"/>
          <ac:spMkLst>
            <pc:docMk/>
            <pc:sldMk cId="1979173307" sldId="4357"/>
            <ac:spMk id="16" creationId="{B4F014A1-3EA9-EEF0-A45D-B043830384D3}"/>
          </ac:spMkLst>
        </pc:spChg>
        <pc:spChg chg="mod">
          <ac:chgData name="April Durrence" userId="2314a7d0-99d3-4144-8a7f-648170c8b7b7" providerId="ADAL" clId="{EAE80DB9-CB43-4440-9E5C-0B0573E509B3}" dt="2026-04-30T18:53:52.130" v="154" actId="1076"/>
          <ac:spMkLst>
            <pc:docMk/>
            <pc:sldMk cId="1979173307" sldId="4357"/>
            <ac:spMk id="30" creationId="{FC6BC6B2-81D1-4CCD-ED26-340AB3754459}"/>
          </ac:spMkLst>
        </pc:spChg>
        <pc:spChg chg="mod">
          <ac:chgData name="April Durrence" userId="2314a7d0-99d3-4144-8a7f-648170c8b7b7" providerId="ADAL" clId="{EAE80DB9-CB43-4440-9E5C-0B0573E509B3}" dt="2026-04-30T18:53:34.075" v="153" actId="1076"/>
          <ac:spMkLst>
            <pc:docMk/>
            <pc:sldMk cId="1979173307" sldId="4357"/>
            <ac:spMk id="47" creationId="{F03A1D6A-5B43-E90C-978B-310F7C2FBC00}"/>
          </ac:spMkLst>
        </pc:spChg>
      </pc:sldChg>
      <pc:sldChg chg="modSp mod">
        <pc:chgData name="April Durrence" userId="2314a7d0-99d3-4144-8a7f-648170c8b7b7" providerId="ADAL" clId="{EAE80DB9-CB43-4440-9E5C-0B0573E509B3}" dt="2026-04-30T18:34:11.957" v="83" actId="2710"/>
        <pc:sldMkLst>
          <pc:docMk/>
          <pc:sldMk cId="2825516367" sldId="4363"/>
        </pc:sldMkLst>
        <pc:spChg chg="mod ord">
          <ac:chgData name="April Durrence" userId="2314a7d0-99d3-4144-8a7f-648170c8b7b7" providerId="ADAL" clId="{EAE80DB9-CB43-4440-9E5C-0B0573E509B3}" dt="2026-04-30T18:33:14.132" v="76" actId="13244"/>
          <ac:spMkLst>
            <pc:docMk/>
            <pc:sldMk cId="2825516367" sldId="4363"/>
            <ac:spMk id="3" creationId="{9A072AB2-1A14-3DB0-318D-3BFE33DAC866}"/>
          </ac:spMkLst>
        </pc:spChg>
        <pc:spChg chg="mod">
          <ac:chgData name="April Durrence" userId="2314a7d0-99d3-4144-8a7f-648170c8b7b7" providerId="ADAL" clId="{EAE80DB9-CB43-4440-9E5C-0B0573E509B3}" dt="2026-04-30T18:34:11.957" v="83" actId="2710"/>
          <ac:spMkLst>
            <pc:docMk/>
            <pc:sldMk cId="2825516367" sldId="4363"/>
            <ac:spMk id="4" creationId="{5B3F0A91-2B89-FF81-6E67-4240BC1CF794}"/>
          </ac:spMkLst>
        </pc:spChg>
        <pc:picChg chg="mod ord">
          <ac:chgData name="April Durrence" userId="2314a7d0-99d3-4144-8a7f-648170c8b7b7" providerId="ADAL" clId="{EAE80DB9-CB43-4440-9E5C-0B0573E509B3}" dt="2026-04-30T18:33:23.485" v="78" actId="13244"/>
          <ac:picMkLst>
            <pc:docMk/>
            <pc:sldMk cId="2825516367" sldId="4363"/>
            <ac:picMk id="5" creationId="{811F65FA-1861-16F0-4103-54324B032CB6}"/>
          </ac:picMkLst>
        </pc:picChg>
      </pc:sldChg>
      <pc:sldChg chg="delSp modSp mod">
        <pc:chgData name="April Durrence" userId="2314a7d0-99d3-4144-8a7f-648170c8b7b7" providerId="ADAL" clId="{EAE80DB9-CB43-4440-9E5C-0B0573E509B3}" dt="2026-04-30T18:55:00.607" v="159" actId="403"/>
        <pc:sldMkLst>
          <pc:docMk/>
          <pc:sldMk cId="3942786021" sldId="2145704708"/>
        </pc:sldMkLst>
        <pc:spChg chg="ord">
          <ac:chgData name="April Durrence" userId="2314a7d0-99d3-4144-8a7f-648170c8b7b7" providerId="ADAL" clId="{EAE80DB9-CB43-4440-9E5C-0B0573E509B3}" dt="2026-04-30T18:25:57.956" v="5" actId="13244"/>
          <ac:spMkLst>
            <pc:docMk/>
            <pc:sldMk cId="3942786021" sldId="2145704708"/>
            <ac:spMk id="2" creationId="{05512F40-5314-4C92-B98C-D74FC017EB50}"/>
          </ac:spMkLst>
        </pc:spChg>
        <pc:spChg chg="mod ord">
          <ac:chgData name="April Durrence" userId="2314a7d0-99d3-4144-8a7f-648170c8b7b7" providerId="ADAL" clId="{EAE80DB9-CB43-4440-9E5C-0B0573E509B3}" dt="2026-04-30T18:25:54.591" v="4" actId="13244"/>
          <ac:spMkLst>
            <pc:docMk/>
            <pc:sldMk cId="3942786021" sldId="2145704708"/>
            <ac:spMk id="4" creationId="{A5BEC7AD-B2A6-4E9D-84AD-F786F31F3EDE}"/>
          </ac:spMkLst>
        </pc:spChg>
        <pc:spChg chg="del">
          <ac:chgData name="April Durrence" userId="2314a7d0-99d3-4144-8a7f-648170c8b7b7" providerId="ADAL" clId="{EAE80DB9-CB43-4440-9E5C-0B0573E509B3}" dt="2026-04-30T18:26:15.588" v="10" actId="478"/>
          <ac:spMkLst>
            <pc:docMk/>
            <pc:sldMk cId="3942786021" sldId="2145704708"/>
            <ac:spMk id="9" creationId="{C0C6B2FC-6B0D-029A-B0E4-2C65D3FEFF14}"/>
          </ac:spMkLst>
        </pc:spChg>
        <pc:spChg chg="mod ord">
          <ac:chgData name="April Durrence" userId="2314a7d0-99d3-4144-8a7f-648170c8b7b7" providerId="ADAL" clId="{EAE80DB9-CB43-4440-9E5C-0B0573E509B3}" dt="2026-04-30T18:54:54.463" v="158" actId="403"/>
          <ac:spMkLst>
            <pc:docMk/>
            <pc:sldMk cId="3942786021" sldId="2145704708"/>
            <ac:spMk id="10" creationId="{CBBB265D-C908-5A58-8044-2C18C7CCFB44}"/>
          </ac:spMkLst>
        </pc:spChg>
        <pc:spChg chg="mod">
          <ac:chgData name="April Durrence" userId="2314a7d0-99d3-4144-8a7f-648170c8b7b7" providerId="ADAL" clId="{EAE80DB9-CB43-4440-9E5C-0B0573E509B3}" dt="2026-04-30T18:55:00.607" v="159" actId="403"/>
          <ac:spMkLst>
            <pc:docMk/>
            <pc:sldMk cId="3942786021" sldId="2145704708"/>
            <ac:spMk id="36" creationId="{C7C7A680-A0A2-46E4-81B4-0523D4BE3DD5}"/>
          </ac:spMkLst>
        </pc:spChg>
        <pc:picChg chg="ord">
          <ac:chgData name="April Durrence" userId="2314a7d0-99d3-4144-8a7f-648170c8b7b7" providerId="ADAL" clId="{EAE80DB9-CB43-4440-9E5C-0B0573E509B3}" dt="2026-04-30T18:26:24.469" v="11" actId="13244"/>
          <ac:picMkLst>
            <pc:docMk/>
            <pc:sldMk cId="3942786021" sldId="2145704708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4-30T18:26:11.315" v="9" actId="962"/>
          <ac:picMkLst>
            <pc:docMk/>
            <pc:sldMk cId="3942786021" sldId="2145704708"/>
            <ac:picMk id="7" creationId="{67953733-06EA-A759-C0CE-F69B48B6F1CD}"/>
          </ac:picMkLst>
        </pc:picChg>
        <pc:picChg chg="mod ord">
          <ac:chgData name="April Durrence" userId="2314a7d0-99d3-4144-8a7f-648170c8b7b7" providerId="ADAL" clId="{EAE80DB9-CB43-4440-9E5C-0B0573E509B3}" dt="2026-04-30T18:26:08.103" v="8" actId="13244"/>
          <ac:picMkLst>
            <pc:docMk/>
            <pc:sldMk cId="3942786021" sldId="2145704708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4-30T18:26:03.211" v="6" actId="962"/>
          <ac:cxnSpMkLst>
            <pc:docMk/>
            <pc:sldMk cId="3942786021" sldId="2145704708"/>
            <ac:cxnSpMk id="5" creationId="{3090EF30-4BD5-4989-8BBA-7A2EC017A665}"/>
          </ac:cxnSpMkLst>
        </pc:cxnChg>
      </pc:sldChg>
      <pc:sldChg chg="delSp modSp mod">
        <pc:chgData name="April Durrence" userId="2314a7d0-99d3-4144-8a7f-648170c8b7b7" providerId="ADAL" clId="{EAE80DB9-CB43-4440-9E5C-0B0573E509B3}" dt="2026-04-30T18:55:20.133" v="162" actId="403"/>
        <pc:sldMkLst>
          <pc:docMk/>
          <pc:sldMk cId="4241917700" sldId="2145704709"/>
        </pc:sldMkLst>
        <pc:spChg chg="mod ord">
          <ac:chgData name="April Durrence" userId="2314a7d0-99d3-4144-8a7f-648170c8b7b7" providerId="ADAL" clId="{EAE80DB9-CB43-4440-9E5C-0B0573E509B3}" dt="2026-04-30T18:26:51.479" v="16" actId="13244"/>
          <ac:spMkLst>
            <pc:docMk/>
            <pc:sldMk cId="4241917700" sldId="2145704709"/>
            <ac:spMk id="4" creationId="{A5BEC7AD-B2A6-4E9D-84AD-F786F31F3EDE}"/>
          </ac:spMkLst>
        </pc:spChg>
        <pc:spChg chg="del">
          <ac:chgData name="April Durrence" userId="2314a7d0-99d3-4144-8a7f-648170c8b7b7" providerId="ADAL" clId="{EAE80DB9-CB43-4440-9E5C-0B0573E509B3}" dt="2026-04-30T18:27:08.244" v="21" actId="478"/>
          <ac:spMkLst>
            <pc:docMk/>
            <pc:sldMk cId="4241917700" sldId="2145704709"/>
            <ac:spMk id="9" creationId="{C0C6B2FC-6B0D-029A-B0E4-2C65D3FEFF14}"/>
          </ac:spMkLst>
        </pc:spChg>
        <pc:spChg chg="mod ord">
          <ac:chgData name="April Durrence" userId="2314a7d0-99d3-4144-8a7f-648170c8b7b7" providerId="ADAL" clId="{EAE80DB9-CB43-4440-9E5C-0B0573E509B3}" dt="2026-04-30T18:55:15.813" v="161" actId="403"/>
          <ac:spMkLst>
            <pc:docMk/>
            <pc:sldMk cId="4241917700" sldId="2145704709"/>
            <ac:spMk id="10" creationId="{CBBB265D-C908-5A58-8044-2C18C7CCFB44}"/>
          </ac:spMkLst>
        </pc:spChg>
        <pc:spChg chg="ord">
          <ac:chgData name="April Durrence" userId="2314a7d0-99d3-4144-8a7f-648170c8b7b7" providerId="ADAL" clId="{EAE80DB9-CB43-4440-9E5C-0B0573E509B3}" dt="2026-04-30T18:26:54.341" v="17" actId="13244"/>
          <ac:spMkLst>
            <pc:docMk/>
            <pc:sldMk cId="4241917700" sldId="2145704709"/>
            <ac:spMk id="13" creationId="{F764A021-18F7-5A66-97C2-10A0556929C1}"/>
          </ac:spMkLst>
        </pc:spChg>
        <pc:spChg chg="mod">
          <ac:chgData name="April Durrence" userId="2314a7d0-99d3-4144-8a7f-648170c8b7b7" providerId="ADAL" clId="{EAE80DB9-CB43-4440-9E5C-0B0573E509B3}" dt="2026-04-30T18:55:20.133" v="162" actId="403"/>
          <ac:spMkLst>
            <pc:docMk/>
            <pc:sldMk cId="4241917700" sldId="2145704709"/>
            <ac:spMk id="36" creationId="{C7C7A680-A0A2-46E4-81B4-0523D4BE3DD5}"/>
          </ac:spMkLst>
        </pc:spChg>
        <pc:picChg chg="mod ord">
          <ac:chgData name="April Durrence" userId="2314a7d0-99d3-4144-8a7f-648170c8b7b7" providerId="ADAL" clId="{EAE80DB9-CB43-4440-9E5C-0B0573E509B3}" dt="2026-04-30T18:27:23.347" v="25" actId="962"/>
          <ac:picMkLst>
            <pc:docMk/>
            <pc:sldMk cId="4241917700" sldId="2145704709"/>
            <ac:picMk id="3" creationId="{F8B2B9AA-2ACD-966A-A871-E789210A68C8}"/>
          </ac:picMkLst>
        </pc:picChg>
        <pc:picChg chg="mod">
          <ac:chgData name="April Durrence" userId="2314a7d0-99d3-4144-8a7f-648170c8b7b7" providerId="ADAL" clId="{EAE80DB9-CB43-4440-9E5C-0B0573E509B3}" dt="2026-04-30T18:27:14.003" v="22" actId="962"/>
          <ac:picMkLst>
            <pc:docMk/>
            <pc:sldMk cId="4241917700" sldId="2145704709"/>
            <ac:picMk id="7" creationId="{67953733-06EA-A759-C0CE-F69B48B6F1CD}"/>
          </ac:picMkLst>
        </pc:picChg>
        <pc:picChg chg="mod ord">
          <ac:chgData name="April Durrence" userId="2314a7d0-99d3-4144-8a7f-648170c8b7b7" providerId="ADAL" clId="{EAE80DB9-CB43-4440-9E5C-0B0573E509B3}" dt="2026-04-30T18:27:04.350" v="20" actId="13244"/>
          <ac:picMkLst>
            <pc:docMk/>
            <pc:sldMk cId="4241917700" sldId="2145704709"/>
            <ac:picMk id="8" creationId="{F2CE900B-A071-207B-6394-442FF8D02B8E}"/>
          </ac:picMkLst>
        </pc:picChg>
        <pc:cxnChg chg="mod">
          <ac:chgData name="April Durrence" userId="2314a7d0-99d3-4144-8a7f-648170c8b7b7" providerId="ADAL" clId="{EAE80DB9-CB43-4440-9E5C-0B0573E509B3}" dt="2026-04-30T18:27:00.092" v="18" actId="962"/>
          <ac:cxnSpMkLst>
            <pc:docMk/>
            <pc:sldMk cId="4241917700" sldId="2145704709"/>
            <ac:cxnSpMk id="5" creationId="{3090EF30-4BD5-4989-8BBA-7A2EC017A665}"/>
          </ac:cxnSpMkLst>
        </pc:cxnChg>
      </pc:sldChg>
      <pc:sldChg chg="modSp mod">
        <pc:chgData name="April Durrence" userId="2314a7d0-99d3-4144-8a7f-648170c8b7b7" providerId="ADAL" clId="{EAE80DB9-CB43-4440-9E5C-0B0573E509B3}" dt="2026-04-30T18:50:51.432" v="138" actId="403"/>
        <pc:sldMkLst>
          <pc:docMk/>
          <pc:sldMk cId="3397359739" sldId="2145704720"/>
        </pc:sldMkLst>
        <pc:spChg chg="mod">
          <ac:chgData name="April Durrence" userId="2314a7d0-99d3-4144-8a7f-648170c8b7b7" providerId="ADAL" clId="{EAE80DB9-CB43-4440-9E5C-0B0573E509B3}" dt="2026-04-30T18:50:42.300" v="137" actId="6549"/>
          <ac:spMkLst>
            <pc:docMk/>
            <pc:sldMk cId="3397359739" sldId="2145704720"/>
            <ac:spMk id="10" creationId="{E42F9DE3-2F82-F4E2-765A-93E92B2333AE}"/>
          </ac:spMkLst>
        </pc:spChg>
        <pc:spChg chg="mod">
          <ac:chgData name="April Durrence" userId="2314a7d0-99d3-4144-8a7f-648170c8b7b7" providerId="ADAL" clId="{EAE80DB9-CB43-4440-9E5C-0B0573E509B3}" dt="2026-04-30T18:50:51.432" v="138" actId="403"/>
          <ac:spMkLst>
            <pc:docMk/>
            <pc:sldMk cId="3397359739" sldId="2145704720"/>
            <ac:spMk id="36" creationId="{A28975E3-5DCC-BA25-0C69-D2B43832D647}"/>
          </ac:spMkLst>
        </pc:spChg>
      </pc:sldChg>
      <pc:sldChg chg="modSp mod">
        <pc:chgData name="April Durrence" userId="2314a7d0-99d3-4144-8a7f-648170c8b7b7" providerId="ADAL" clId="{EAE80DB9-CB43-4440-9E5C-0B0573E509B3}" dt="2026-04-30T18:50:04.441" v="134" actId="403"/>
        <pc:sldMkLst>
          <pc:docMk/>
          <pc:sldMk cId="4234542370" sldId="2145704723"/>
        </pc:sldMkLst>
        <pc:spChg chg="mod">
          <ac:chgData name="April Durrence" userId="2314a7d0-99d3-4144-8a7f-648170c8b7b7" providerId="ADAL" clId="{EAE80DB9-CB43-4440-9E5C-0B0573E509B3}" dt="2026-04-30T18:50:00.568" v="133" actId="403"/>
          <ac:spMkLst>
            <pc:docMk/>
            <pc:sldMk cId="4234542370" sldId="2145704723"/>
            <ac:spMk id="10" creationId="{33C4D0BC-5C57-5C23-31A5-E49CA8E8F2DF}"/>
          </ac:spMkLst>
        </pc:spChg>
        <pc:spChg chg="mod">
          <ac:chgData name="April Durrence" userId="2314a7d0-99d3-4144-8a7f-648170c8b7b7" providerId="ADAL" clId="{EAE80DB9-CB43-4440-9E5C-0B0573E509B3}" dt="2026-04-30T18:50:04.441" v="134" actId="403"/>
          <ac:spMkLst>
            <pc:docMk/>
            <pc:sldMk cId="4234542370" sldId="2145704723"/>
            <ac:spMk id="36" creationId="{C23E88EB-1BCF-BFA6-423D-054EC78BC193}"/>
          </ac:spMkLst>
        </pc:spChg>
      </pc:sldChg>
      <pc:sldChg chg="modSp mod">
        <pc:chgData name="April Durrence" userId="2314a7d0-99d3-4144-8a7f-648170c8b7b7" providerId="ADAL" clId="{EAE80DB9-CB43-4440-9E5C-0B0573E509B3}" dt="2026-04-30T18:28:54.723" v="41" actId="20577"/>
        <pc:sldMkLst>
          <pc:docMk/>
          <pc:sldMk cId="1065753204" sldId="2145704728"/>
        </pc:sldMkLst>
        <pc:spChg chg="mod ord">
          <ac:chgData name="April Durrence" userId="2314a7d0-99d3-4144-8a7f-648170c8b7b7" providerId="ADAL" clId="{EAE80DB9-CB43-4440-9E5C-0B0573E509B3}" dt="2026-04-30T18:27:41.566" v="27" actId="13244"/>
          <ac:spMkLst>
            <pc:docMk/>
            <pc:sldMk cId="1065753204" sldId="2145704728"/>
            <ac:spMk id="3" creationId="{B9860983-73BF-8A19-2271-A3FC113C7875}"/>
          </ac:spMkLst>
        </pc:spChg>
        <pc:spChg chg="mod">
          <ac:chgData name="April Durrence" userId="2314a7d0-99d3-4144-8a7f-648170c8b7b7" providerId="ADAL" clId="{EAE80DB9-CB43-4440-9E5C-0B0573E509B3}" dt="2026-04-30T18:28:54.723" v="41" actId="20577"/>
          <ac:spMkLst>
            <pc:docMk/>
            <pc:sldMk cId="1065753204" sldId="2145704728"/>
            <ac:spMk id="10" creationId="{12C581AF-A03B-E427-2FC9-9290DC570BD1}"/>
          </ac:spMkLst>
        </pc:spChg>
      </pc:sldChg>
      <pc:sldChg chg="modSp mod">
        <pc:chgData name="April Durrence" userId="2314a7d0-99d3-4144-8a7f-648170c8b7b7" providerId="ADAL" clId="{EAE80DB9-CB43-4440-9E5C-0B0573E509B3}" dt="2026-04-30T18:45:07.920" v="117" actId="1076"/>
        <pc:sldMkLst>
          <pc:docMk/>
          <pc:sldMk cId="4020978614" sldId="2145704731"/>
        </pc:sldMkLst>
        <pc:spChg chg="mod">
          <ac:chgData name="April Durrence" userId="2314a7d0-99d3-4144-8a7f-648170c8b7b7" providerId="ADAL" clId="{EAE80DB9-CB43-4440-9E5C-0B0573E509B3}" dt="2026-04-30T18:44:45.683" v="116"/>
          <ac:spMkLst>
            <pc:docMk/>
            <pc:sldMk cId="4020978614" sldId="2145704731"/>
            <ac:spMk id="4" creationId="{45010CEF-BB3C-991A-9802-7F17233EA201}"/>
          </ac:spMkLst>
        </pc:spChg>
        <pc:picChg chg="mod">
          <ac:chgData name="April Durrence" userId="2314a7d0-99d3-4144-8a7f-648170c8b7b7" providerId="ADAL" clId="{EAE80DB9-CB43-4440-9E5C-0B0573E509B3}" dt="2026-04-30T18:45:07.920" v="117" actId="1076"/>
          <ac:picMkLst>
            <pc:docMk/>
            <pc:sldMk cId="4020978614" sldId="2145704731"/>
            <ac:picMk id="5" creationId="{DF67097B-DF5A-BBDB-8312-0A6CEA94FCE1}"/>
          </ac:picMkLst>
        </pc:picChg>
      </pc:sldChg>
      <pc:sldChg chg="modSp mod">
        <pc:chgData name="April Durrence" userId="2314a7d0-99d3-4144-8a7f-648170c8b7b7" providerId="ADAL" clId="{EAE80DB9-CB43-4440-9E5C-0B0573E509B3}" dt="2026-04-30T19:02:38.353" v="192" actId="1076"/>
        <pc:sldMkLst>
          <pc:docMk/>
          <pc:sldMk cId="1897416034" sldId="2145704732"/>
        </pc:sldMkLst>
        <pc:spChg chg="mod">
          <ac:chgData name="April Durrence" userId="2314a7d0-99d3-4144-8a7f-648170c8b7b7" providerId="ADAL" clId="{EAE80DB9-CB43-4440-9E5C-0B0573E509B3}" dt="2026-04-30T19:02:38.353" v="192" actId="1076"/>
          <ac:spMkLst>
            <pc:docMk/>
            <pc:sldMk cId="1897416034" sldId="2145704732"/>
            <ac:spMk id="4" creationId="{551D18B6-A288-CF23-AC0F-DA2308AE2A48}"/>
          </ac:spMkLst>
        </pc:spChg>
      </pc:sldChg>
      <pc:sldChg chg="modSp mod">
        <pc:chgData name="April Durrence" userId="2314a7d0-99d3-4144-8a7f-648170c8b7b7" providerId="ADAL" clId="{EAE80DB9-CB43-4440-9E5C-0B0573E509B3}" dt="2026-04-30T19:03:45.436" v="202" actId="20577"/>
        <pc:sldMkLst>
          <pc:docMk/>
          <pc:sldMk cId="1230090227" sldId="2145704733"/>
        </pc:sldMkLst>
        <pc:spChg chg="mod">
          <ac:chgData name="April Durrence" userId="2314a7d0-99d3-4144-8a7f-648170c8b7b7" providerId="ADAL" clId="{EAE80DB9-CB43-4440-9E5C-0B0573E509B3}" dt="2026-04-30T19:03:45.436" v="202" actId="20577"/>
          <ac:spMkLst>
            <pc:docMk/>
            <pc:sldMk cId="1230090227" sldId="2145704733"/>
            <ac:spMk id="2" creationId="{62C462D4-DA42-3AB6-A454-FC73C1D4D129}"/>
          </ac:spMkLst>
        </pc:spChg>
        <pc:picChg chg="mod">
          <ac:chgData name="April Durrence" userId="2314a7d0-99d3-4144-8a7f-648170c8b7b7" providerId="ADAL" clId="{EAE80DB9-CB43-4440-9E5C-0B0573E509B3}" dt="2026-04-30T18:59:25.649" v="191" actId="1076"/>
          <ac:picMkLst>
            <pc:docMk/>
            <pc:sldMk cId="1230090227" sldId="2145704733"/>
            <ac:picMk id="6" creationId="{B9D8561A-D416-C7BA-5B3C-A8A4D4DDEB19}"/>
          </ac:picMkLst>
        </pc:picChg>
      </pc:sldChg>
      <pc:sldChg chg="modSp mod">
        <pc:chgData name="April Durrence" userId="2314a7d0-99d3-4144-8a7f-648170c8b7b7" providerId="ADAL" clId="{EAE80DB9-CB43-4440-9E5C-0B0573E509B3}" dt="2026-04-30T19:14:58.311" v="304" actId="20577"/>
        <pc:sldMkLst>
          <pc:docMk/>
          <pc:sldMk cId="3439431091" sldId="2145704734"/>
        </pc:sldMkLst>
        <pc:spChg chg="mod">
          <ac:chgData name="April Durrence" userId="2314a7d0-99d3-4144-8a7f-648170c8b7b7" providerId="ADAL" clId="{EAE80DB9-CB43-4440-9E5C-0B0573E509B3}" dt="2026-04-30T19:14:58.311" v="304" actId="20577"/>
          <ac:spMkLst>
            <pc:docMk/>
            <pc:sldMk cId="3439431091" sldId="2145704734"/>
            <ac:spMk id="2" creationId="{6B393469-67B7-3B38-5FAF-7F36EA67A010}"/>
          </ac:spMkLst>
        </pc:spChg>
        <pc:spChg chg="mod">
          <ac:chgData name="April Durrence" userId="2314a7d0-99d3-4144-8a7f-648170c8b7b7" providerId="ADAL" clId="{EAE80DB9-CB43-4440-9E5C-0B0573E509B3}" dt="2026-04-30T18:45:49.407" v="118" actId="948"/>
          <ac:spMkLst>
            <pc:docMk/>
            <pc:sldMk cId="3439431091" sldId="2145704734"/>
            <ac:spMk id="4" creationId="{FCBF447E-2E1F-ECBA-D63C-56ED0D4B46CE}"/>
          </ac:spMkLst>
        </pc:spChg>
      </pc:sldChg>
      <pc:sldChg chg="modSp mod">
        <pc:chgData name="April Durrence" userId="2314a7d0-99d3-4144-8a7f-648170c8b7b7" providerId="ADAL" clId="{EAE80DB9-CB43-4440-9E5C-0B0573E509B3}" dt="2026-04-30T18:34:43.103" v="86" actId="948"/>
        <pc:sldMkLst>
          <pc:docMk/>
          <pc:sldMk cId="3851853317" sldId="2145704737"/>
        </pc:sldMkLst>
        <pc:spChg chg="mod ord">
          <ac:chgData name="April Durrence" userId="2314a7d0-99d3-4144-8a7f-648170c8b7b7" providerId="ADAL" clId="{EAE80DB9-CB43-4440-9E5C-0B0573E509B3}" dt="2026-04-30T18:34:21.945" v="85" actId="13244"/>
          <ac:spMkLst>
            <pc:docMk/>
            <pc:sldMk cId="3851853317" sldId="2145704737"/>
            <ac:spMk id="3" creationId="{03F6867C-7B1C-FAA1-162C-938205F04F5B}"/>
          </ac:spMkLst>
        </pc:spChg>
        <pc:spChg chg="mod">
          <ac:chgData name="April Durrence" userId="2314a7d0-99d3-4144-8a7f-648170c8b7b7" providerId="ADAL" clId="{EAE80DB9-CB43-4440-9E5C-0B0573E509B3}" dt="2026-04-30T18:34:43.103" v="86" actId="948"/>
          <ac:spMkLst>
            <pc:docMk/>
            <pc:sldMk cId="3851853317" sldId="2145704737"/>
            <ac:spMk id="4" creationId="{55A5D731-31BD-8207-EA18-36787A670813}"/>
          </ac:spMkLst>
        </pc:spChg>
      </pc:sldChg>
      <pc:sldChg chg="modSp mod">
        <pc:chgData name="April Durrence" userId="2314a7d0-99d3-4144-8a7f-648170c8b7b7" providerId="ADAL" clId="{EAE80DB9-CB43-4440-9E5C-0B0573E509B3}" dt="2026-04-30T18:49:49.640" v="132" actId="403"/>
        <pc:sldMkLst>
          <pc:docMk/>
          <pc:sldMk cId="2574654022" sldId="2145704739"/>
        </pc:sldMkLst>
        <pc:spChg chg="mod">
          <ac:chgData name="April Durrence" userId="2314a7d0-99d3-4144-8a7f-648170c8b7b7" providerId="ADAL" clId="{EAE80DB9-CB43-4440-9E5C-0B0573E509B3}" dt="2026-04-30T18:49:49.640" v="132" actId="403"/>
          <ac:spMkLst>
            <pc:docMk/>
            <pc:sldMk cId="2574654022" sldId="2145704739"/>
            <ac:spMk id="10" creationId="{359E6393-BEB0-E700-8D17-83AC4DD2DC86}"/>
          </ac:spMkLst>
        </pc:spChg>
        <pc:spChg chg="mod">
          <ac:chgData name="April Durrence" userId="2314a7d0-99d3-4144-8a7f-648170c8b7b7" providerId="ADAL" clId="{EAE80DB9-CB43-4440-9E5C-0B0573E509B3}" dt="2026-04-30T18:49:42.648" v="131" actId="403"/>
          <ac:spMkLst>
            <pc:docMk/>
            <pc:sldMk cId="2574654022" sldId="2145704739"/>
            <ac:spMk id="36" creationId="{D154196C-839A-070F-13F8-F69C239FD53F}"/>
          </ac:spMkLst>
        </pc:spChg>
      </pc:sldChg>
      <pc:sldChg chg="modSp del mod">
        <pc:chgData name="April Durrence" userId="2314a7d0-99d3-4144-8a7f-648170c8b7b7" providerId="ADAL" clId="{EAE80DB9-CB43-4440-9E5C-0B0573E509B3}" dt="2026-04-30T19:25:54.792" v="362" actId="47"/>
        <pc:sldMkLst>
          <pc:docMk/>
          <pc:sldMk cId="1250318967" sldId="2145704740"/>
        </pc:sldMkLst>
        <pc:spChg chg="mod">
          <ac:chgData name="April Durrence" userId="2314a7d0-99d3-4144-8a7f-648170c8b7b7" providerId="ADAL" clId="{EAE80DB9-CB43-4440-9E5C-0B0573E509B3}" dt="2026-04-30T19:09:09.544" v="223" actId="14100"/>
          <ac:spMkLst>
            <pc:docMk/>
            <pc:sldMk cId="1250318967" sldId="2145704740"/>
            <ac:spMk id="2" creationId="{3EC7F003-1A88-69F7-0F9C-38526A011186}"/>
          </ac:spMkLst>
        </pc:spChg>
        <pc:spChg chg="mod ord">
          <ac:chgData name="April Durrence" userId="2314a7d0-99d3-4144-8a7f-648170c8b7b7" providerId="ADAL" clId="{EAE80DB9-CB43-4440-9E5C-0B0573E509B3}" dt="2026-04-30T18:25:48.905" v="2" actId="13244"/>
          <ac:spMkLst>
            <pc:docMk/>
            <pc:sldMk cId="1250318967" sldId="2145704740"/>
            <ac:spMk id="3" creationId="{30097ED7-2CC7-F09A-0F5E-28DCDE357CC6}"/>
          </ac:spMkLst>
        </pc:spChg>
      </pc:sldChg>
      <pc:sldChg chg="modSp mod">
        <pc:chgData name="April Durrence" userId="2314a7d0-99d3-4144-8a7f-648170c8b7b7" providerId="ADAL" clId="{EAE80DB9-CB43-4440-9E5C-0B0573E509B3}" dt="2026-04-30T20:22:14.111" v="790" actId="962"/>
        <pc:sldMkLst>
          <pc:docMk/>
          <pc:sldMk cId="1059718690" sldId="2145704743"/>
        </pc:sldMkLst>
        <pc:spChg chg="mod">
          <ac:chgData name="April Durrence" userId="2314a7d0-99d3-4144-8a7f-648170c8b7b7" providerId="ADAL" clId="{EAE80DB9-CB43-4440-9E5C-0B0573E509B3}" dt="2026-04-30T18:49:00.156" v="130" actId="14100"/>
          <ac:spMkLst>
            <pc:docMk/>
            <pc:sldMk cId="1059718690" sldId="2145704743"/>
            <ac:spMk id="5" creationId="{16FDF9E2-E652-1E09-E2BC-773B65991C9C}"/>
          </ac:spMkLst>
        </pc:spChg>
        <pc:picChg chg="mod">
          <ac:chgData name="April Durrence" userId="2314a7d0-99d3-4144-8a7f-648170c8b7b7" providerId="ADAL" clId="{EAE80DB9-CB43-4440-9E5C-0B0573E509B3}" dt="2026-04-30T20:22:14.111" v="790" actId="962"/>
          <ac:picMkLst>
            <pc:docMk/>
            <pc:sldMk cId="1059718690" sldId="2145704743"/>
            <ac:picMk id="8" creationId="{B97443CD-70DA-FF90-458A-9AE387B7BA02}"/>
          </ac:picMkLst>
        </pc:picChg>
      </pc:sldChg>
      <pc:sldChg chg="modSp mod">
        <pc:chgData name="April Durrence" userId="2314a7d0-99d3-4144-8a7f-648170c8b7b7" providerId="ADAL" clId="{EAE80DB9-CB43-4440-9E5C-0B0573E509B3}" dt="2026-04-30T18:35:27.230" v="91" actId="27636"/>
        <pc:sldMkLst>
          <pc:docMk/>
          <pc:sldMk cId="3464509237" sldId="2145704746"/>
        </pc:sldMkLst>
        <pc:spChg chg="mod">
          <ac:chgData name="April Durrence" userId="2314a7d0-99d3-4144-8a7f-648170c8b7b7" providerId="ADAL" clId="{EAE80DB9-CB43-4440-9E5C-0B0573E509B3}" dt="2026-04-30T18:35:27.230" v="91" actId="27636"/>
          <ac:spMkLst>
            <pc:docMk/>
            <pc:sldMk cId="3464509237" sldId="2145704746"/>
            <ac:spMk id="5" creationId="{E38B6593-1240-AFB2-83BF-44D2FD7C81A5}"/>
          </ac:spMkLst>
        </pc:spChg>
      </pc:sldChg>
      <pc:sldChg chg="modSp mod">
        <pc:chgData name="April Durrence" userId="2314a7d0-99d3-4144-8a7f-648170c8b7b7" providerId="ADAL" clId="{EAE80DB9-CB43-4440-9E5C-0B0573E509B3}" dt="2026-04-30T19:11:51.862" v="239" actId="20577"/>
        <pc:sldMkLst>
          <pc:docMk/>
          <pc:sldMk cId="3732664357" sldId="2145704748"/>
        </pc:sldMkLst>
        <pc:spChg chg="mod ord">
          <ac:chgData name="April Durrence" userId="2314a7d0-99d3-4144-8a7f-648170c8b7b7" providerId="ADAL" clId="{EAE80DB9-CB43-4440-9E5C-0B0573E509B3}" dt="2026-04-30T18:29:43.109" v="47" actId="13244"/>
          <ac:spMkLst>
            <pc:docMk/>
            <pc:sldMk cId="3732664357" sldId="2145704748"/>
            <ac:spMk id="2" creationId="{A2431A9C-007D-E2D7-805F-2919F46DB477}"/>
          </ac:spMkLst>
        </pc:spChg>
        <pc:spChg chg="mod">
          <ac:chgData name="April Durrence" userId="2314a7d0-99d3-4144-8a7f-648170c8b7b7" providerId="ADAL" clId="{EAE80DB9-CB43-4440-9E5C-0B0573E509B3}" dt="2026-04-30T19:11:51.862" v="239" actId="20577"/>
          <ac:spMkLst>
            <pc:docMk/>
            <pc:sldMk cId="3732664357" sldId="2145704748"/>
            <ac:spMk id="5" creationId="{202F6773-1BBD-AD9C-DBF6-0F9EE3D4F89C}"/>
          </ac:spMkLst>
        </pc:spChg>
        <pc:spChg chg="mod">
          <ac:chgData name="April Durrence" userId="2314a7d0-99d3-4144-8a7f-648170c8b7b7" providerId="ADAL" clId="{EAE80DB9-CB43-4440-9E5C-0B0573E509B3}" dt="2026-04-30T18:31:46.059" v="60" actId="1076"/>
          <ac:spMkLst>
            <pc:docMk/>
            <pc:sldMk cId="3732664357" sldId="2145704748"/>
            <ac:spMk id="10" creationId="{BE686A4B-1112-6E92-634C-5A6FC9D1B5F6}"/>
          </ac:spMkLst>
        </pc:spChg>
      </pc:sldChg>
      <pc:sldChg chg="modSp mod">
        <pc:chgData name="April Durrence" userId="2314a7d0-99d3-4144-8a7f-648170c8b7b7" providerId="ADAL" clId="{EAE80DB9-CB43-4440-9E5C-0B0573E509B3}" dt="2026-04-30T18:47:20.904" v="129" actId="1076"/>
        <pc:sldMkLst>
          <pc:docMk/>
          <pc:sldMk cId="434796143" sldId="2145704749"/>
        </pc:sldMkLst>
        <pc:spChg chg="mod">
          <ac:chgData name="April Durrence" userId="2314a7d0-99d3-4144-8a7f-648170c8b7b7" providerId="ADAL" clId="{EAE80DB9-CB43-4440-9E5C-0B0573E509B3}" dt="2026-04-30T18:47:20.904" v="129" actId="1076"/>
          <ac:spMkLst>
            <pc:docMk/>
            <pc:sldMk cId="434796143" sldId="2145704749"/>
            <ac:spMk id="3" creationId="{E2A47339-4912-A4F4-2F5A-EEF68131977F}"/>
          </ac:spMkLst>
        </pc:spChg>
        <pc:picChg chg="mod">
          <ac:chgData name="April Durrence" userId="2314a7d0-99d3-4144-8a7f-648170c8b7b7" providerId="ADAL" clId="{EAE80DB9-CB43-4440-9E5C-0B0573E509B3}" dt="2026-04-30T18:46:08.711" v="119" actId="1076"/>
          <ac:picMkLst>
            <pc:docMk/>
            <pc:sldMk cId="434796143" sldId="2145704749"/>
            <ac:picMk id="6" creationId="{73BC73B9-C51A-F056-FAA8-CAF8BECB08AD}"/>
          </ac:picMkLst>
        </pc:picChg>
      </pc:sldChg>
      <pc:sldChg chg="modSp del mod">
        <pc:chgData name="April Durrence" userId="2314a7d0-99d3-4144-8a7f-648170c8b7b7" providerId="ADAL" clId="{EAE80DB9-CB43-4440-9E5C-0B0573E509B3}" dt="2026-04-30T19:40:27.204" v="563" actId="47"/>
        <pc:sldMkLst>
          <pc:docMk/>
          <pc:sldMk cId="3703464055" sldId="2145704750"/>
        </pc:sldMkLst>
        <pc:spChg chg="ord">
          <ac:chgData name="April Durrence" userId="2314a7d0-99d3-4144-8a7f-648170c8b7b7" providerId="ADAL" clId="{EAE80DB9-CB43-4440-9E5C-0B0573E509B3}" dt="2026-04-30T18:25:30.190" v="0" actId="13244"/>
          <ac:spMkLst>
            <pc:docMk/>
            <pc:sldMk cId="3703464055" sldId="2145704750"/>
            <ac:spMk id="2" creationId="{2026EC0D-57B1-75B6-C96B-BFAF2AB0B555}"/>
          </ac:spMkLst>
        </pc:spChg>
        <pc:spChg chg="mod ord">
          <ac:chgData name="April Durrence" userId="2314a7d0-99d3-4144-8a7f-648170c8b7b7" providerId="ADAL" clId="{EAE80DB9-CB43-4440-9E5C-0B0573E509B3}" dt="2026-04-30T19:15:54.244" v="306" actId="13244"/>
          <ac:spMkLst>
            <pc:docMk/>
            <pc:sldMk cId="3703464055" sldId="2145704750"/>
            <ac:spMk id="4" creationId="{C0FB0B6A-DE1B-8516-D393-D6B8AFC79764}"/>
          </ac:spMkLst>
        </pc:spChg>
        <pc:picChg chg="mod ord">
          <ac:chgData name="April Durrence" userId="2314a7d0-99d3-4144-8a7f-648170c8b7b7" providerId="ADAL" clId="{EAE80DB9-CB43-4440-9E5C-0B0573E509B3}" dt="2026-04-30T19:16:03.279" v="309" actId="962"/>
          <ac:picMkLst>
            <pc:docMk/>
            <pc:sldMk cId="3703464055" sldId="2145704750"/>
            <ac:picMk id="7" creationId="{4904805C-2AA6-B09D-3114-817311F08DB1}"/>
          </ac:picMkLst>
        </pc:picChg>
        <pc:picChg chg="mod">
          <ac:chgData name="April Durrence" userId="2314a7d0-99d3-4144-8a7f-648170c8b7b7" providerId="ADAL" clId="{EAE80DB9-CB43-4440-9E5C-0B0573E509B3}" dt="2026-04-30T19:16:01.446" v="308" actId="962"/>
          <ac:picMkLst>
            <pc:docMk/>
            <pc:sldMk cId="3703464055" sldId="2145704750"/>
            <ac:picMk id="8" creationId="{FEE34F51-E436-B2A7-E1CA-B1A1441B89BE}"/>
          </ac:picMkLst>
        </pc:picChg>
      </pc:sldChg>
      <pc:sldChg chg="modSp mod">
        <pc:chgData name="April Durrence" userId="2314a7d0-99d3-4144-8a7f-648170c8b7b7" providerId="ADAL" clId="{EAE80DB9-CB43-4440-9E5C-0B0573E509B3}" dt="2026-04-30T18:29:36.756" v="45" actId="13244"/>
        <pc:sldMkLst>
          <pc:docMk/>
          <pc:sldMk cId="1205142995" sldId="2145704751"/>
        </pc:sldMkLst>
        <pc:spChg chg="mod ord">
          <ac:chgData name="April Durrence" userId="2314a7d0-99d3-4144-8a7f-648170c8b7b7" providerId="ADAL" clId="{EAE80DB9-CB43-4440-9E5C-0B0573E509B3}" dt="2026-04-30T18:29:36.756" v="45" actId="13244"/>
          <ac:spMkLst>
            <pc:docMk/>
            <pc:sldMk cId="1205142995" sldId="2145704751"/>
            <ac:spMk id="3" creationId="{4206AD56-FD80-8E49-A7F0-C71D3A9BC7F3}"/>
          </ac:spMkLst>
        </pc:spChg>
      </pc:sldChg>
      <pc:sldChg chg="modSp mod">
        <pc:chgData name="April Durrence" userId="2314a7d0-99d3-4144-8a7f-648170c8b7b7" providerId="ADAL" clId="{EAE80DB9-CB43-4440-9E5C-0B0573E509B3}" dt="2026-04-30T19:05:57.656" v="212" actId="20577"/>
        <pc:sldMkLst>
          <pc:docMk/>
          <pc:sldMk cId="49205797" sldId="2145704752"/>
        </pc:sldMkLst>
        <pc:spChg chg="mod">
          <ac:chgData name="April Durrence" userId="2314a7d0-99d3-4144-8a7f-648170c8b7b7" providerId="ADAL" clId="{EAE80DB9-CB43-4440-9E5C-0B0573E509B3}" dt="2026-04-30T19:05:57.656" v="212" actId="20577"/>
          <ac:spMkLst>
            <pc:docMk/>
            <pc:sldMk cId="49205797" sldId="2145704752"/>
            <ac:spMk id="2" creationId="{0F91126B-DD9D-C62F-002B-54EEE6CB6F10}"/>
          </ac:spMkLst>
        </pc:spChg>
      </pc:sldChg>
      <pc:sldChg chg="modSp del mod">
        <pc:chgData name="April Durrence" userId="2314a7d0-99d3-4144-8a7f-648170c8b7b7" providerId="ADAL" clId="{EAE80DB9-CB43-4440-9E5C-0B0573E509B3}" dt="2026-04-30T19:30:49.554" v="412" actId="47"/>
        <pc:sldMkLst>
          <pc:docMk/>
          <pc:sldMk cId="2904577626" sldId="2145704753"/>
        </pc:sldMkLst>
        <pc:spChg chg="mod">
          <ac:chgData name="April Durrence" userId="2314a7d0-99d3-4144-8a7f-648170c8b7b7" providerId="ADAL" clId="{EAE80DB9-CB43-4440-9E5C-0B0573E509B3}" dt="2026-04-30T19:09:20.807" v="229" actId="20577"/>
          <ac:spMkLst>
            <pc:docMk/>
            <pc:sldMk cId="2904577626" sldId="2145704753"/>
            <ac:spMk id="2" creationId="{59F3595E-CF75-8497-FE18-5643BA459863}"/>
          </ac:spMkLst>
        </pc:spChg>
        <pc:spChg chg="mod ord">
          <ac:chgData name="April Durrence" userId="2314a7d0-99d3-4144-8a7f-648170c8b7b7" providerId="ADAL" clId="{EAE80DB9-CB43-4440-9E5C-0B0573E509B3}" dt="2026-04-30T19:18:08.319" v="311" actId="13244"/>
          <ac:spMkLst>
            <pc:docMk/>
            <pc:sldMk cId="2904577626" sldId="2145704753"/>
            <ac:spMk id="3" creationId="{83D0826E-A73D-6109-C731-FB7533527C7C}"/>
          </ac:spMkLst>
        </pc:spChg>
      </pc:sldChg>
      <pc:sldChg chg="modSp mod">
        <pc:chgData name="April Durrence" userId="2314a7d0-99d3-4144-8a7f-648170c8b7b7" providerId="ADAL" clId="{EAE80DB9-CB43-4440-9E5C-0B0573E509B3}" dt="2026-04-30T20:32:11.229" v="1112" actId="962"/>
        <pc:sldMkLst>
          <pc:docMk/>
          <pc:sldMk cId="1796880483" sldId="2145704754"/>
        </pc:sldMkLst>
        <pc:spChg chg="mod">
          <ac:chgData name="April Durrence" userId="2314a7d0-99d3-4144-8a7f-648170c8b7b7" providerId="ADAL" clId="{EAE80DB9-CB43-4440-9E5C-0B0573E509B3}" dt="2026-04-30T18:57:53.197" v="190" actId="20577"/>
          <ac:spMkLst>
            <pc:docMk/>
            <pc:sldMk cId="1796880483" sldId="2145704754"/>
            <ac:spMk id="2" creationId="{9A1B3C22-78C6-400E-8189-7B4759870260}"/>
          </ac:spMkLst>
        </pc:spChg>
        <pc:spChg chg="mod">
          <ac:chgData name="April Durrence" userId="2314a7d0-99d3-4144-8a7f-648170c8b7b7" providerId="ADAL" clId="{EAE80DB9-CB43-4440-9E5C-0B0573E509B3}" dt="2026-04-30T18:36:41.538" v="96" actId="12"/>
          <ac:spMkLst>
            <pc:docMk/>
            <pc:sldMk cId="1796880483" sldId="2145704754"/>
            <ac:spMk id="5" creationId="{50A66B2C-270C-A802-7E14-02B5E3429276}"/>
          </ac:spMkLst>
        </pc:spChg>
        <pc:picChg chg="mod">
          <ac:chgData name="April Durrence" userId="2314a7d0-99d3-4144-8a7f-648170c8b7b7" providerId="ADAL" clId="{EAE80DB9-CB43-4440-9E5C-0B0573E509B3}" dt="2026-04-30T20:32:11.229" v="1112" actId="962"/>
          <ac:picMkLst>
            <pc:docMk/>
            <pc:sldMk cId="1796880483" sldId="2145704754"/>
            <ac:picMk id="6" creationId="{75297658-0FFD-FA79-7666-80F63AD1FEED}"/>
          </ac:picMkLst>
        </pc:picChg>
      </pc:sldChg>
      <pc:sldChg chg="modSp mod">
        <pc:chgData name="April Durrence" userId="2314a7d0-99d3-4144-8a7f-648170c8b7b7" providerId="ADAL" clId="{EAE80DB9-CB43-4440-9E5C-0B0573E509B3}" dt="2026-04-30T18:30:55.495" v="53" actId="13244"/>
        <pc:sldMkLst>
          <pc:docMk/>
          <pc:sldMk cId="3018178626" sldId="2145704755"/>
        </pc:sldMkLst>
        <pc:spChg chg="mod ord">
          <ac:chgData name="April Durrence" userId="2314a7d0-99d3-4144-8a7f-648170c8b7b7" providerId="ADAL" clId="{EAE80DB9-CB43-4440-9E5C-0B0573E509B3}" dt="2026-04-30T18:30:55.495" v="53" actId="13244"/>
          <ac:spMkLst>
            <pc:docMk/>
            <pc:sldMk cId="3018178626" sldId="2145704755"/>
            <ac:spMk id="2" creationId="{A6C32A5D-5D2E-B61F-A434-5070C6753E53}"/>
          </ac:spMkLst>
        </pc:spChg>
        <pc:spChg chg="mod">
          <ac:chgData name="April Durrence" userId="2314a7d0-99d3-4144-8a7f-648170c8b7b7" providerId="ADAL" clId="{EAE80DB9-CB43-4440-9E5C-0B0573E509B3}" dt="2026-04-30T18:30:50.022" v="51" actId="404"/>
          <ac:spMkLst>
            <pc:docMk/>
            <pc:sldMk cId="3018178626" sldId="2145704755"/>
            <ac:spMk id="4" creationId="{802E6A91-549E-31FB-3F75-C8904060655E}"/>
          </ac:spMkLst>
        </pc:spChg>
      </pc:sldChg>
      <pc:sldChg chg="addSp delSp modSp add mod">
        <pc:chgData name="April Durrence" userId="2314a7d0-99d3-4144-8a7f-648170c8b7b7" providerId="ADAL" clId="{EAE80DB9-CB43-4440-9E5C-0B0573E509B3}" dt="2026-04-30T19:25:30.745" v="361" actId="962"/>
        <pc:sldMkLst>
          <pc:docMk/>
          <pc:sldMk cId="1700092987" sldId="2145704756"/>
        </pc:sldMkLst>
        <pc:spChg chg="ord">
          <ac:chgData name="April Durrence" userId="2314a7d0-99d3-4144-8a7f-648170c8b7b7" providerId="ADAL" clId="{EAE80DB9-CB43-4440-9E5C-0B0573E509B3}" dt="2026-04-30T19:25:09.001" v="356" actId="13244"/>
          <ac:spMkLst>
            <pc:docMk/>
            <pc:sldMk cId="1700092987" sldId="2145704756"/>
            <ac:spMk id="3" creationId="{C046441D-5DF8-5348-62FB-9549366725B0}"/>
          </ac:spMkLst>
        </pc:spChg>
        <pc:spChg chg="add mod">
          <ac:chgData name="April Durrence" userId="2314a7d0-99d3-4144-8a7f-648170c8b7b7" providerId="ADAL" clId="{EAE80DB9-CB43-4440-9E5C-0B0573E509B3}" dt="2026-04-30T19:24:50.371" v="354" actId="403"/>
          <ac:spMkLst>
            <pc:docMk/>
            <pc:sldMk cId="1700092987" sldId="2145704756"/>
            <ac:spMk id="4" creationId="{4EAD8C3B-B8E8-F438-818E-575305332E3A}"/>
          </ac:spMkLst>
        </pc:spChg>
        <pc:spChg chg="add mod ord">
          <ac:chgData name="April Durrence" userId="2314a7d0-99d3-4144-8a7f-648170c8b7b7" providerId="ADAL" clId="{EAE80DB9-CB43-4440-9E5C-0B0573E509B3}" dt="2026-04-30T19:25:15.823" v="357" actId="13244"/>
          <ac:spMkLst>
            <pc:docMk/>
            <pc:sldMk cId="1700092987" sldId="2145704756"/>
            <ac:spMk id="5" creationId="{1B8372D2-9201-6A94-248A-08F2CDF023AC}"/>
          </ac:spMkLst>
        </pc:spChg>
        <pc:spChg chg="add mod">
          <ac:chgData name="April Durrence" userId="2314a7d0-99d3-4144-8a7f-648170c8b7b7" providerId="ADAL" clId="{EAE80DB9-CB43-4440-9E5C-0B0573E509B3}" dt="2026-04-30T19:24:54.030" v="355" actId="403"/>
          <ac:spMkLst>
            <pc:docMk/>
            <pc:sldMk cId="1700092987" sldId="2145704756"/>
            <ac:spMk id="6" creationId="{7BA1B61A-13A9-D97E-FF69-34BF26BD8355}"/>
          </ac:spMkLst>
        </pc:spChg>
        <pc:spChg chg="add mod ord">
          <ac:chgData name="April Durrence" userId="2314a7d0-99d3-4144-8a7f-648170c8b7b7" providerId="ADAL" clId="{EAE80DB9-CB43-4440-9E5C-0B0573E509B3}" dt="2026-04-30T19:25:30.745" v="361" actId="962"/>
          <ac:spMkLst>
            <pc:docMk/>
            <pc:sldMk cId="1700092987" sldId="2145704756"/>
            <ac:spMk id="8" creationId="{BF9F84A5-B286-9F7F-5F17-F30ECBB751CF}"/>
          </ac:spMkLst>
        </pc:spChg>
        <pc:spChg chg="add mod ord">
          <ac:chgData name="April Durrence" userId="2314a7d0-99d3-4144-8a7f-648170c8b7b7" providerId="ADAL" clId="{EAE80DB9-CB43-4440-9E5C-0B0573E509B3}" dt="2026-04-30T19:25:29.381" v="360" actId="962"/>
          <ac:spMkLst>
            <pc:docMk/>
            <pc:sldMk cId="1700092987" sldId="2145704756"/>
            <ac:spMk id="9" creationId="{3D8A50A0-E447-7C2E-A2DA-28BA4473381C}"/>
          </ac:spMkLst>
        </pc:spChg>
        <pc:graphicFrameChg chg="del modGraphic">
          <ac:chgData name="April Durrence" userId="2314a7d0-99d3-4144-8a7f-648170c8b7b7" providerId="ADAL" clId="{EAE80DB9-CB43-4440-9E5C-0B0573E509B3}" dt="2026-04-30T19:18:48.953" v="314" actId="478"/>
          <ac:graphicFrameMkLst>
            <pc:docMk/>
            <pc:sldMk cId="1700092987" sldId="2145704756"/>
            <ac:graphicFrameMk id="7" creationId="{AC5FA9E0-8073-1F3D-6CBB-11F0F7592C14}"/>
          </ac:graphicFrameMkLst>
        </pc:graphicFrameChg>
      </pc:sldChg>
      <pc:sldChg chg="addSp delSp modSp add mod">
        <pc:chgData name="April Durrence" userId="2314a7d0-99d3-4144-8a7f-648170c8b7b7" providerId="ADAL" clId="{EAE80DB9-CB43-4440-9E5C-0B0573E509B3}" dt="2026-04-30T19:30:39.781" v="411" actId="13244"/>
        <pc:sldMkLst>
          <pc:docMk/>
          <pc:sldMk cId="4162451074" sldId="2145704757"/>
        </pc:sldMkLst>
        <pc:spChg chg="ord">
          <ac:chgData name="April Durrence" userId="2314a7d0-99d3-4144-8a7f-648170c8b7b7" providerId="ADAL" clId="{EAE80DB9-CB43-4440-9E5C-0B0573E509B3}" dt="2026-04-30T19:30:39.781" v="411" actId="13244"/>
          <ac:spMkLst>
            <pc:docMk/>
            <pc:sldMk cId="4162451074" sldId="2145704757"/>
            <ac:spMk id="3" creationId="{120AF028-94BC-F224-D958-E42A0A3B3F06}"/>
          </ac:spMkLst>
        </pc:spChg>
        <pc:spChg chg="add mod">
          <ac:chgData name="April Durrence" userId="2314a7d0-99d3-4144-8a7f-648170c8b7b7" providerId="ADAL" clId="{EAE80DB9-CB43-4440-9E5C-0B0573E509B3}" dt="2026-04-30T19:29:54.372" v="402" actId="403"/>
          <ac:spMkLst>
            <pc:docMk/>
            <pc:sldMk cId="4162451074" sldId="2145704757"/>
            <ac:spMk id="5" creationId="{30E04861-629D-2B0B-EF86-7F7879D34C2C}"/>
          </ac:spMkLst>
        </pc:spChg>
        <pc:spChg chg="add mod">
          <ac:chgData name="April Durrence" userId="2314a7d0-99d3-4144-8a7f-648170c8b7b7" providerId="ADAL" clId="{EAE80DB9-CB43-4440-9E5C-0B0573E509B3}" dt="2026-04-30T19:30:02.508" v="406" actId="120"/>
          <ac:spMkLst>
            <pc:docMk/>
            <pc:sldMk cId="4162451074" sldId="2145704757"/>
            <ac:spMk id="6" creationId="{90AE4E75-F738-BFDC-188F-3BE30493934B}"/>
          </ac:spMkLst>
        </pc:spChg>
        <pc:spChg chg="add mod">
          <ac:chgData name="April Durrence" userId="2314a7d0-99d3-4144-8a7f-648170c8b7b7" providerId="ADAL" clId="{EAE80DB9-CB43-4440-9E5C-0B0573E509B3}" dt="2026-04-30T19:30:10.319" v="410" actId="120"/>
          <ac:spMkLst>
            <pc:docMk/>
            <pc:sldMk cId="4162451074" sldId="2145704757"/>
            <ac:spMk id="7" creationId="{479EA22D-D8DA-10DA-050E-EC5EB0736106}"/>
          </ac:spMkLst>
        </pc:spChg>
        <pc:graphicFrameChg chg="del">
          <ac:chgData name="April Durrence" userId="2314a7d0-99d3-4144-8a7f-648170c8b7b7" providerId="ADAL" clId="{EAE80DB9-CB43-4440-9E5C-0B0573E509B3}" dt="2026-04-30T19:26:09.576" v="364" actId="478"/>
          <ac:graphicFrameMkLst>
            <pc:docMk/>
            <pc:sldMk cId="4162451074" sldId="2145704757"/>
            <ac:graphicFrameMk id="4" creationId="{9F5AF9D3-78D0-C38D-86F9-D3127FFBEA87}"/>
          </ac:graphicFrameMkLst>
        </pc:graphicFrameChg>
      </pc:sldChg>
      <pc:sldChg chg="addSp delSp modSp add mod">
        <pc:chgData name="April Durrence" userId="2314a7d0-99d3-4144-8a7f-648170c8b7b7" providerId="ADAL" clId="{EAE80DB9-CB43-4440-9E5C-0B0573E509B3}" dt="2026-04-30T19:40:17.608" v="561" actId="1076"/>
        <pc:sldMkLst>
          <pc:docMk/>
          <pc:sldMk cId="1030546144" sldId="2145704758"/>
        </pc:sldMkLst>
        <pc:spChg chg="add mod">
          <ac:chgData name="April Durrence" userId="2314a7d0-99d3-4144-8a7f-648170c8b7b7" providerId="ADAL" clId="{EAE80DB9-CB43-4440-9E5C-0B0573E509B3}" dt="2026-04-30T19:39:27.678" v="558" actId="20577"/>
          <ac:spMkLst>
            <pc:docMk/>
            <pc:sldMk cId="1030546144" sldId="2145704758"/>
            <ac:spMk id="3" creationId="{DC92A602-D08C-01B5-00D7-7AA76220DC94}"/>
          </ac:spMkLst>
        </pc:spChg>
        <pc:spChg chg="ord">
          <ac:chgData name="April Durrence" userId="2314a7d0-99d3-4144-8a7f-648170c8b7b7" providerId="ADAL" clId="{EAE80DB9-CB43-4440-9E5C-0B0573E509B3}" dt="2026-04-30T19:39:47.592" v="560" actId="13244"/>
          <ac:spMkLst>
            <pc:docMk/>
            <pc:sldMk cId="1030546144" sldId="2145704758"/>
            <ac:spMk id="4" creationId="{C291F588-4613-3E91-EED0-137A43E777F0}"/>
          </ac:spMkLst>
        </pc:spChg>
        <pc:spChg chg="add del mod">
          <ac:chgData name="April Durrence" userId="2314a7d0-99d3-4144-8a7f-648170c8b7b7" providerId="ADAL" clId="{EAE80DB9-CB43-4440-9E5C-0B0573E509B3}" dt="2026-04-30T19:36:54.193" v="501" actId="478"/>
          <ac:spMkLst>
            <pc:docMk/>
            <pc:sldMk cId="1030546144" sldId="2145704758"/>
            <ac:spMk id="6" creationId="{33F929A4-404B-E68B-A4A9-FF6D030B2182}"/>
          </ac:spMkLst>
        </pc:spChg>
        <pc:spChg chg="add mod">
          <ac:chgData name="April Durrence" userId="2314a7d0-99d3-4144-8a7f-648170c8b7b7" providerId="ADAL" clId="{EAE80DB9-CB43-4440-9E5C-0B0573E509B3}" dt="2026-04-30T19:38:28.270" v="516"/>
          <ac:spMkLst>
            <pc:docMk/>
            <pc:sldMk cId="1030546144" sldId="2145704758"/>
            <ac:spMk id="9" creationId="{4CF6A2C4-EFC9-6E98-4E2E-5FA73E0E1DDD}"/>
          </ac:spMkLst>
        </pc:spChg>
        <pc:spChg chg="add mod">
          <ac:chgData name="April Durrence" userId="2314a7d0-99d3-4144-8a7f-648170c8b7b7" providerId="ADAL" clId="{EAE80DB9-CB43-4440-9E5C-0B0573E509B3}" dt="2026-04-30T19:38:56.127" v="531" actId="20577"/>
          <ac:spMkLst>
            <pc:docMk/>
            <pc:sldMk cId="1030546144" sldId="2145704758"/>
            <ac:spMk id="10" creationId="{66860A2C-175B-A937-8548-E51A3B1A93E2}"/>
          </ac:spMkLst>
        </pc:spChg>
        <pc:spChg chg="add mod">
          <ac:chgData name="April Durrence" userId="2314a7d0-99d3-4144-8a7f-648170c8b7b7" providerId="ADAL" clId="{EAE80DB9-CB43-4440-9E5C-0B0573E509B3}" dt="2026-04-30T19:39:16.419" v="552" actId="20577"/>
          <ac:spMkLst>
            <pc:docMk/>
            <pc:sldMk cId="1030546144" sldId="2145704758"/>
            <ac:spMk id="11" creationId="{18D6FFCD-583C-BEDD-FFC1-D1E0CCB1079A}"/>
          </ac:spMkLst>
        </pc:spChg>
        <pc:graphicFrameChg chg="del">
          <ac:chgData name="April Durrence" userId="2314a7d0-99d3-4144-8a7f-648170c8b7b7" providerId="ADAL" clId="{EAE80DB9-CB43-4440-9E5C-0B0573E509B3}" dt="2026-04-30T19:31:15.797" v="414" actId="478"/>
          <ac:graphicFrameMkLst>
            <pc:docMk/>
            <pc:sldMk cId="1030546144" sldId="2145704758"/>
            <ac:graphicFrameMk id="5" creationId="{FA4C62A7-7372-7746-2580-EDFDCA85EBEE}"/>
          </ac:graphicFrameMkLst>
        </pc:graphicFrameChg>
        <pc:picChg chg="mod ord">
          <ac:chgData name="April Durrence" userId="2314a7d0-99d3-4144-8a7f-648170c8b7b7" providerId="ADAL" clId="{EAE80DB9-CB43-4440-9E5C-0B0573E509B3}" dt="2026-04-30T19:40:17.608" v="561" actId="1076"/>
          <ac:picMkLst>
            <pc:docMk/>
            <pc:sldMk cId="1030546144" sldId="2145704758"/>
            <ac:picMk id="7" creationId="{5A67F05F-3642-5533-5AA3-490888A5F146}"/>
          </ac:picMkLst>
        </pc:picChg>
      </pc:sldChg>
      <pc:sldChg chg="addSp delSp modSp add del mod">
        <pc:chgData name="April Durrence" userId="2314a7d0-99d3-4144-8a7f-648170c8b7b7" providerId="ADAL" clId="{EAE80DB9-CB43-4440-9E5C-0B0573E509B3}" dt="2026-04-30T19:40:24.483" v="562" actId="47"/>
        <pc:sldMkLst>
          <pc:docMk/>
          <pc:sldMk cId="748470971" sldId="2145704759"/>
        </pc:sldMkLst>
        <pc:spChg chg="add mod">
          <ac:chgData name="April Durrence" userId="2314a7d0-99d3-4144-8a7f-648170c8b7b7" providerId="ADAL" clId="{EAE80DB9-CB43-4440-9E5C-0B0573E509B3}" dt="2026-04-30T19:36:17.719" v="494" actId="12"/>
          <ac:spMkLst>
            <pc:docMk/>
            <pc:sldMk cId="748470971" sldId="2145704759"/>
            <ac:spMk id="3" creationId="{FD972185-C067-30A7-F1FE-4B1EFD7C2DD0}"/>
          </ac:spMkLst>
        </pc:spChg>
        <pc:graphicFrameChg chg="del">
          <ac:chgData name="April Durrence" userId="2314a7d0-99d3-4144-8a7f-648170c8b7b7" providerId="ADAL" clId="{EAE80DB9-CB43-4440-9E5C-0B0573E509B3}" dt="2026-04-30T19:33:22.480" v="425" actId="478"/>
          <ac:graphicFrameMkLst>
            <pc:docMk/>
            <pc:sldMk cId="748470971" sldId="2145704759"/>
            <ac:graphicFrameMk id="5" creationId="{855A4EC4-5AB2-45EC-4693-7BD69217EAE1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314C32C-AE17-3E7A-0C83-019943BC53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B87B80-0726-14A5-4A7F-C79D96FB84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0E931-2B4A-4E7E-AE2D-C45D1133394D}" type="datetimeFigureOut">
              <a:rPr lang="en-US" smtClean="0"/>
              <a:t>4/30/2026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C61309-7EAC-2133-BF55-9BBC9E1A2C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F9550-1488-4B78-9548-ED9C1E26B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832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9B083-B27B-4FA1-9D02-8E7D72C200D0}" type="datetimeFigureOut">
              <a:rPr lang="en-US" smtClean="0"/>
              <a:t>4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8B917A-44FF-4375-AE13-26284F8E84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46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909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289245-58A0-C5C5-431D-9BB6F780B8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2B1C1-99A2-0C19-A5B6-B8F03C9A43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0267FA-0CEF-FDFC-2E43-9C729B5372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ABB17-A415-0F3D-FAC8-7B8AECD66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157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5E4B9-68B1-3C08-8C6F-48301BD9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2030C2-BC4D-3ABB-C74E-231E8F51E4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E62F22-2CDE-747D-1BB3-E06D56A086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9334E8-3E6B-96CD-A501-B5990AC135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084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EBEC31-42DE-1034-EED3-49B8FAA31E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5D497C-B511-BE0A-6308-A4C8BAF50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3C5EB5-B4A2-8CD4-3E63-AEED2C9EF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0D4558-0019-CC69-2592-0793A0CB5F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5747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3274C-DB85-EA4B-D6BD-290AE565D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E68187-1B69-F3B4-6214-BD44A49DB0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F542E-41DE-A207-A143-42D55E235D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C1945-F31B-3F3C-C2C1-7F7F532683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578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195988-9A07-3F14-2E7C-522DAFD606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DABFFC-3A5F-454D-C2CF-B806711425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ABF-99EE-536E-7110-C2BE709580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74C510-E474-59EA-F441-7947C0C59B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15517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B4791C-1DCA-61BD-93B4-1024727E7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F408C9-40FD-2119-E74E-E07FEDA52F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8813F3-7743-B06B-E0CD-FB14C2AB46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38D3AB-49D0-7A4A-BC4B-E8E3D80495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9316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C7E3E-D77D-A644-E204-BF94CDD21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9CF53A-20CA-B552-B135-AECD817393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8B8D51-0BD8-FC7B-2278-226FCAB7DE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C95FBE-77AB-0261-7861-041B408318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19576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53E9D3-A323-4853-7CD7-7CF11D4F1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09C2EC-6D6F-7A7C-041E-F6FE3684C3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820BB1-4AD7-3BCC-3626-21DBF68A8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B93236-5FFD-59CB-F41E-28F8926958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1299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24E77-8B13-2D60-44D3-49199F87C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C68E3B-A8B2-1652-76FB-8821E92D71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508509-D444-9D2C-F619-F512FCB058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6E1878-785D-255B-A613-FCC1D5E16F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8B917A-44FF-4375-AE13-26284F8E84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39123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34CA5-6EC7-B533-48EA-894CA9F06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61D6E7-DC5C-2E47-3580-CECB363395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BA7DB-1BC3-7460-DA6B-18EED36775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4A802-9F57-717E-115C-42F3D4DD4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7798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19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896BC-6CB2-5F36-370B-15EFD51B4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958B5D-CB40-1F1B-C6BD-40EBF14C01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7D518A-C27C-E8D8-E4A0-51A96023D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40F28C-4392-0D98-DA9F-EC1B34EC87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88264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CC24FA-CA2F-8695-644B-7C9316C669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C64F44-7642-43CE-A495-2BB5D38769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F55DBB-62E0-5617-2E07-8A89660D6B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E17A0-1834-D0E3-53BD-F7D69A736C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46365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102FC-7B8A-B388-E192-99D0F3D44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DF6AD6-EEE4-D2CE-3EE8-40E7420A5C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BE490A-25DC-1B01-7C84-BAFDF33501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AE3973-BD6B-2A89-4335-070F47FC95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6667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02A30-A598-9E0B-1C82-6E591B5FB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74FB8B-49DF-AB75-224A-BF534450F6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5EA27B-4C40-852D-E216-827016881A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0D773E-F68B-56C8-43B7-4418AC011C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41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11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7242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40DDA-62C7-94AB-D14F-C3A6AB89D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2C5E6D-6E4F-0F8D-BFA0-6F8F8A4A7E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6FB10-402E-2A5E-EC74-7DBC54D062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588F4-60A7-46BB-DCAB-CF43EBDC97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648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737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4A450-7E5A-C622-7214-20ED00EF99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F50071-FB44-C965-0FFE-9226FDA5F0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610F94-AAE9-17C9-1211-DBA1CC10E8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12C7D0-E977-89DF-A8B7-3B8B800AD2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700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39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96B74-A1FF-8319-FEFA-B1FABBE8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837F0B-35B0-6138-0604-78056CF603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4342B9-5B35-895B-1A5C-A08576B549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3C192D-A9B1-8906-A280-BC2CD37CE8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9201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4D008F-8A94-726E-0A2C-C6D4B27BB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5B473B-C0DE-FFBD-4CAC-59E49F855B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C4B76B-AB6A-FCBB-68F7-8600DA9015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A3AE30-C32F-7699-8959-8B6C818BFF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70258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7071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ABEBC3-1A0D-FD74-BB3A-8069AB3FC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28F3D-94B9-482D-1746-1AF141B0EF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7D9A3-1844-1848-0FEE-1539CCF499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59CF4-6183-52B8-2054-1707D0950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1238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D91FE-6D38-6401-A9C4-8ED3A8AE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F54BBF-64C9-D426-4C7C-8E544ED6D0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2FD9ED-943F-EA04-DFC4-4CC8196787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58F35-FEE1-9855-09E0-2D68B15B7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506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4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F2A081-8209-0CB3-779A-F020CF950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08C697-7382-BD7B-4711-2B80D36AEF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329107-42CC-7A68-4975-F4AEED6C6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238CD-049D-4DB3-4256-EDB78735C7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DD4A-3BDD-4D5C-9F20-AD0723098B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83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D50CF-5974-6448-C6E4-CBEB163E3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4DCE5-F80F-D404-1CCC-7FC18DCEAB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6108BD-DD07-30DC-8F03-3BBD833D19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EA7C3-6950-355B-E4D0-A675283AF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F7AE6-12DA-4B88-A513-C47EE31B06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031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74F2B-44DA-3801-EABB-AA9356503F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E5A117-A099-472D-37B3-9179F42A73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746167-7762-7B1F-E998-2025C9EA57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2DB53-7EE0-2113-0A38-F6B4776BF5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2185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9F8A7-4D60-FAEC-649C-80E185BE98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F9E723-7DC7-23CA-022C-95B32F553A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E6DBCF-3D1B-3C48-3AD7-3D8E43A150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389FB9-A24B-EE57-B9D8-5168D9B48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9432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26D45D-A5F7-B572-177A-FDCFF4225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CE3C70-9701-98FF-BAF7-6D4905F6EA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96DD1-FAD1-ED6A-2C15-803A54DE07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6E6C9-E7C2-A6F0-A0E9-1DF00CCFD7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8B917A-44FF-4375-AE13-26284F8E84D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35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6618" y="939385"/>
            <a:ext cx="1116555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07396" y="939386"/>
            <a:ext cx="11124775" cy="296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02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4547" y="939385"/>
            <a:ext cx="11077625" cy="274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4548" y="918507"/>
            <a:ext cx="11077624" cy="330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355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7668" y="939385"/>
            <a:ext cx="11134503" cy="257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75261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02745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266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0200"/>
            <a:ext cx="9692640" cy="127710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915" y="3169157"/>
            <a:ext cx="9681555" cy="1655763"/>
          </a:xfrm>
        </p:spPr>
        <p:txBody>
          <a:bodyPr>
            <a:normAutofit/>
          </a:bodyPr>
          <a:lstStyle>
            <a:lvl1pPr marL="0" indent="0" algn="l">
              <a:buNone/>
              <a:defRPr sz="2800" b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613E9-4864-49B9-9B75-7F065C1974CB}"/>
              </a:ext>
            </a:extLst>
          </p:cNvPr>
          <p:cNvCxnSpPr/>
          <p:nvPr userDrawn="1"/>
        </p:nvCxnSpPr>
        <p:spPr>
          <a:xfrm>
            <a:off x="1512915" y="2967011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8A6571A-D1BC-45D9-8BBE-1E74645F13D0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489800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14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37641" y="5803391"/>
            <a:ext cx="1844602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3721" y="6328168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52829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</a:extLst>
          </p:cNvPr>
          <p:cNvSpPr/>
          <p:nvPr userDrawn="1"/>
        </p:nvSpPr>
        <p:spPr>
          <a:xfrm>
            <a:off x="10497313" y="5803392"/>
            <a:ext cx="1584929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0E8A1B-9494-4948-B4D7-33394FA2EA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683" b="23372"/>
          <a:stretch/>
        </p:blipFill>
        <p:spPr>
          <a:xfrm>
            <a:off x="774408" y="276877"/>
            <a:ext cx="1445888" cy="6114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31266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6322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349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33472C-1771-4D3B-926A-AC34B4A17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AD31AA-A215-4AD4-8513-DE9542D04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20377" y="5803392"/>
            <a:ext cx="2161865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0"/>
            <a:ext cx="10974323" cy="52395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2B0CDB-D6D0-446A-A742-38E325BB9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189970" y="140208"/>
            <a:ext cx="1892272" cy="73152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7DA7167-FFE4-4582-A328-DC802BCFC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85867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80901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80923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82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</a:extLst>
          </p:cNvPr>
          <p:cNvSpPr/>
          <p:nvPr userDrawn="1"/>
        </p:nvSpPr>
        <p:spPr>
          <a:xfrm>
            <a:off x="9869865" y="5803392"/>
            <a:ext cx="2212378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140208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489773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17A040-FBDA-4F05-9CE2-7DE46C19EADF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24D57-317F-402E-9CC2-8C442CCA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19344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3AF4D37-08B2-4F9D-9B70-EFE5268C5C96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2672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7" y="572898"/>
            <a:ext cx="6748983" cy="53457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4287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81F61A-27C4-4D43-9ED7-91C2AB61A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30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9E8F7B-9A6A-48B8-8818-98E7F5C9BCB4}"/>
              </a:ext>
            </a:extLst>
          </p:cNvPr>
          <p:cNvSpPr/>
          <p:nvPr userDrawn="1"/>
        </p:nvSpPr>
        <p:spPr>
          <a:xfrm>
            <a:off x="949378" y="939385"/>
            <a:ext cx="10982793" cy="309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54864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585090"/>
            <a:ext cx="674898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655065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E4DAB48-7C31-425F-8874-C2CBA518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46700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135027"/>
            <a:ext cx="11582400" cy="64633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20"/>
            <a:ext cx="11582400" cy="276999"/>
          </a:xfrm>
        </p:spPr>
        <p:txBody>
          <a:bodyPr/>
          <a:lstStyle>
            <a:lvl1pPr marL="0" indent="0">
              <a:buNone/>
              <a:defRPr sz="1999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3"/>
            <a:ext cx="11582400" cy="11993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2737708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41817" y="134382"/>
            <a:ext cx="8608483" cy="493712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4636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2" y="1570042"/>
            <a:ext cx="10227731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1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673601" y="6509043"/>
            <a:ext cx="28448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948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F4692-503D-41FF-A59B-420308C26E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2679" y="5803393"/>
            <a:ext cx="1786271" cy="99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C78BCB-4C1E-4004-80F9-2353C2D34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89971" y="5803392"/>
            <a:ext cx="1892271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F1852F-034B-47AA-A456-9F982E877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4548" y="939386"/>
            <a:ext cx="11077624" cy="305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A48370-7C5A-4169-8F25-83F3E0011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13B26E-07ED-40EB-ADD6-4035AB4D6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323456"/>
            <a:ext cx="1892272" cy="731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8183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630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2D679D9-06B7-460E-9B28-A9C4B722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547" y="1992103"/>
            <a:ext cx="9692640" cy="2273319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AA56947-F4DF-41F0-812C-E2DBB0928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547" y="4439307"/>
            <a:ext cx="9692640" cy="150018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C1A067-A893-4279-B308-9FFC75BAE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4548" y="939385"/>
            <a:ext cx="11077624" cy="334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1D8551-CBB1-4F04-A097-C0DCEEE68F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FE0038-5839-49A8-8B57-4F9050F1D9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4547" y="4322413"/>
            <a:ext cx="969264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95041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1112" y="1255777"/>
            <a:ext cx="5181600" cy="4584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EBEAB-2AEE-49D4-BDC3-BD9DF50C1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845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172465"/>
            <a:ext cx="10925492" cy="823912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14471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6862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1385" y="114471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1385" y="196862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F3D789-74FA-4753-B245-B364323F4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394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500833-DD81-433B-AEFB-26C61E21B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6790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8925" cy="6342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330FE5-D279-49E2-BA0B-8057E5EEF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89971" y="5803392"/>
            <a:ext cx="1892272" cy="1054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5DE318-13A6-471E-AE4F-2C86C9804C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99728" y="6126480"/>
            <a:ext cx="1892272" cy="73152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7825C70-D5A5-436D-AACB-4CFC723B8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  <a:prstGeom prst="rect">
            <a:avLst/>
          </a:prstGeom>
          <a:ln>
            <a:solidFill>
              <a:srgbClr val="232B7C"/>
            </a:solidFill>
          </a:ln>
        </p:spPr>
        <p:txBody>
          <a:bodyPr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fld id="{205155C8-06EF-4D76-B723-5863044CF2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C0D0A5-FC9D-4348-9178-F276FF1F7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38201" y="5916429"/>
            <a:ext cx="1584929" cy="941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0011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2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custDataLst>
      <p:tags r:id="rId14"/>
    </p:custDataLst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</p:spTree>
    <p:custDataLst>
      <p:tags r:id="rId14"/>
    </p:custDataLst>
    <p:extLst>
      <p:ext uri="{BB962C8B-B14F-4D97-AF65-F5344CB8AC3E}">
        <p14:creationId xmlns:p14="http://schemas.microsoft.com/office/powerpoint/2010/main" val="109991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330"/>
            <a:ext cx="10974323" cy="4769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CB7D99-1B9B-4BF4-885E-6610D32C44F5}"/>
              </a:ext>
            </a:extLst>
          </p:cNvPr>
          <p:cNvGrpSpPr/>
          <p:nvPr userDrawn="1"/>
        </p:nvGrpSpPr>
        <p:grpSpPr>
          <a:xfrm>
            <a:off x="0" y="0"/>
            <a:ext cx="548640" cy="6858000"/>
            <a:chOff x="0" y="0"/>
            <a:chExt cx="411480" cy="5143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D4EB9B-CFAD-4822-B717-0EBA0ECBB835}"/>
                </a:ext>
              </a:extLst>
            </p:cNvPr>
            <p:cNvSpPr/>
            <p:nvPr/>
          </p:nvSpPr>
          <p:spPr>
            <a:xfrm>
              <a:off x="0" y="0"/>
              <a:ext cx="411480" cy="5143500"/>
            </a:xfrm>
            <a:prstGeom prst="rect">
              <a:avLst/>
            </a:prstGeom>
            <a:solidFill>
              <a:srgbClr val="232B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C58F39E-A5CD-46C1-AB04-64A30C3F6C08}"/>
                </a:ext>
              </a:extLst>
            </p:cNvPr>
            <p:cNvSpPr/>
            <p:nvPr/>
          </p:nvSpPr>
          <p:spPr>
            <a:xfrm>
              <a:off x="0" y="0"/>
              <a:ext cx="411480" cy="2087880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232B7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76297A-8743-4312-95C7-8C0DB9052BA1}"/>
              </a:ext>
            </a:extLst>
          </p:cNvPr>
          <p:cNvCxnSpPr/>
          <p:nvPr userDrawn="1"/>
        </p:nvCxnSpPr>
        <p:spPr>
          <a:xfrm>
            <a:off x="931163" y="1046771"/>
            <a:ext cx="10881360" cy="0"/>
          </a:xfrm>
          <a:prstGeom prst="line">
            <a:avLst/>
          </a:prstGeom>
          <a:ln w="19050">
            <a:solidFill>
              <a:srgbClr val="972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A706B56-42BE-4BCB-8761-8C28BEF6B9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3" t="23994" r="10834" b="17178"/>
          <a:stretch/>
        </p:blipFill>
        <p:spPr>
          <a:xfrm>
            <a:off x="10237640" y="6069769"/>
            <a:ext cx="1892272" cy="7315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610B7F-0992-40D5-9198-207A77E619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t="7683" b="23372"/>
          <a:stretch/>
        </p:blipFill>
        <p:spPr>
          <a:xfrm>
            <a:off x="774408" y="6023190"/>
            <a:ext cx="1445888" cy="611412"/>
          </a:xfrm>
          <a:prstGeom prst="rect">
            <a:avLst/>
          </a:prstGeom>
        </p:spPr>
      </p:pic>
    </p:spTree>
    <p:custDataLst>
      <p:tags r:id="rId18"/>
    </p:custDataLst>
    <p:extLst>
      <p:ext uri="{BB962C8B-B14F-4D97-AF65-F5344CB8AC3E}">
        <p14:creationId xmlns:p14="http://schemas.microsoft.com/office/powerpoint/2010/main" val="299184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232B7C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9722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32B7C"/>
        </a:buClr>
        <a:buFont typeface="Calibri" panose="020F0502020204030204" pitchFamily="34" charset="0"/>
        <a:buChar char="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5.xml"/><Relationship Id="rId4" Type="http://schemas.openxmlformats.org/officeDocument/2006/relationships/hyperlink" Target="mailto:ncfsepay@ncosc.gov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6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hyperlink" Target="https://www.ncosc.gov/sites/default/files/2025-02/Epay_Process_Help_Info_021925.pdf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7.xml"/><Relationship Id="rId6" Type="http://schemas.openxmlformats.org/officeDocument/2006/relationships/hyperlink" Target="https://www.ncosc.gov/state-suppliers/electronic-payment-form-additional-resource" TargetMode="External"/><Relationship Id="rId5" Type="http://schemas.openxmlformats.org/officeDocument/2006/relationships/hyperlink" Target="https://www.ncosc.gov/sites/default/files/2026-03/Supplier%20Electronic%20Payment%20Form.pdf" TargetMode="External"/><Relationship Id="rId4" Type="http://schemas.openxmlformats.org/officeDocument/2006/relationships/hyperlink" Target="https://www.ncosc.gov/training/ncfs-system-training/ncfs-help-documents/po-18-run-supplier-reports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5" Type="http://schemas.openxmlformats.org/officeDocument/2006/relationships/hyperlink" Target="https://www.ncosc.gov/training/ncfs-system-training/ncfs-help-documents/gl-50-inquire-detail-balance" TargetMode="External"/><Relationship Id="rId4" Type="http://schemas.openxmlformats.org/officeDocument/2006/relationships/hyperlink" Target="https://www.ncosc.gov/state-agency-resources/chart-accounts/ncfs-chart-accounts/ncfs-coa-maintenance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5.xml"/><Relationship Id="rId6" Type="http://schemas.openxmlformats.org/officeDocument/2006/relationships/image" Target="../media/image22.png"/><Relationship Id="rId5" Type="http://schemas.openxmlformats.org/officeDocument/2006/relationships/hyperlink" Target="https://www.ncosc.gov/state-agency-resources/ncfs-resources/agency-year-end-activity-checklist-and-instructions" TargetMode="Externa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6.xml"/><Relationship Id="rId5" Type="http://schemas.openxmlformats.org/officeDocument/2006/relationships/image" Target="../media/image23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9.xml"/><Relationship Id="rId6" Type="http://schemas.openxmlformats.org/officeDocument/2006/relationships/image" Target="../media/image13.png"/><Relationship Id="rId5" Type="http://schemas.openxmlformats.org/officeDocument/2006/relationships/image" Target="../media/image24.jpe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1.xml"/><Relationship Id="rId6" Type="http://schemas.openxmlformats.org/officeDocument/2006/relationships/image" Target="../media/image13.png"/><Relationship Id="rId5" Type="http://schemas.openxmlformats.org/officeDocument/2006/relationships/image" Target="../media/image25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4" Type="http://schemas.openxmlformats.org/officeDocument/2006/relationships/hyperlink" Target="https://forms.office.com/pages/responsepage.aspx?id=SD_0of5UP0OTeJaLRbxmZUcrf6ng_oRPpmOx1FtNAlRUMFdCVDJWS0hMVVBDTTAwMVhEV0g2OENISi4u&amp;route=shorturl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5" Type="http://schemas.openxmlformats.org/officeDocument/2006/relationships/image" Target="../media/image26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5" Type="http://schemas.openxmlformats.org/officeDocument/2006/relationships/image" Target="../media/image27.png"/><Relationship Id="rId4" Type="http://schemas.openxmlformats.org/officeDocument/2006/relationships/hyperlink" Target="https://www.ncosc.gov/state-agency-resources/ncfs-resources/ncfs-system-information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icont.ac/51dzc" TargetMode="External"/><Relationship Id="rId13" Type="http://schemas.openxmlformats.org/officeDocument/2006/relationships/hyperlink" Target="https://icont.ac/51fxU" TargetMode="External"/><Relationship Id="rId3" Type="http://schemas.openxmlformats.org/officeDocument/2006/relationships/notesSlide" Target="../notesSlides/notesSlide30.xml"/><Relationship Id="rId7" Type="http://schemas.openxmlformats.org/officeDocument/2006/relationships/hyperlink" Target="https://www.ncosc.gov/state-agency-resources/ncfs-newsletter" TargetMode="External"/><Relationship Id="rId12" Type="http://schemas.openxmlformats.org/officeDocument/2006/relationships/hyperlink" Target="https://www.ncosc.gov/state-agency-resources/ncfs-resources/2026-communications/new-oracle-cloud-infrastructure-identity-access-management-oci-iam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5.xml"/><Relationship Id="rId6" Type="http://schemas.openxmlformats.org/officeDocument/2006/relationships/hyperlink" Target="https://icont.ac/51cPL" TargetMode="External"/><Relationship Id="rId11" Type="http://schemas.openxmlformats.org/officeDocument/2006/relationships/hyperlink" Target="https://icont.ac/51eXO" TargetMode="External"/><Relationship Id="rId5" Type="http://schemas.openxmlformats.org/officeDocument/2006/relationships/hyperlink" Target="https://icont.ac/51cQV" TargetMode="External"/><Relationship Id="rId10" Type="http://schemas.openxmlformats.org/officeDocument/2006/relationships/hyperlink" Target="https://icont.ac/51eLS" TargetMode="External"/><Relationship Id="rId4" Type="http://schemas.openxmlformats.org/officeDocument/2006/relationships/hyperlink" Target="https://icont.ac/51cQW" TargetMode="External"/><Relationship Id="rId9" Type="http://schemas.openxmlformats.org/officeDocument/2006/relationships/hyperlink" Target="https://icont.ac/51eyZ" TargetMode="External"/><Relationship Id="rId14" Type="http://schemas.openxmlformats.org/officeDocument/2006/relationships/hyperlink" Target="https://icont.ac/51fLn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state-agency-resources/ncfs-resources/1099-information-session" TargetMode="External"/><Relationship Id="rId13" Type="http://schemas.openxmlformats.org/officeDocument/2006/relationships/hyperlink" Target="https://icont.ac/51cYN" TargetMode="External"/><Relationship Id="rId3" Type="http://schemas.openxmlformats.org/officeDocument/2006/relationships/notesSlide" Target="../notesSlides/notesSlide31.xml"/><Relationship Id="rId7" Type="http://schemas.openxmlformats.org/officeDocument/2006/relationships/hyperlink" Target="https://www.ncosc.gov/state-agency-resources/ncfs-resources/2026-communications/fixed-assets-information-session-faqs" TargetMode="External"/><Relationship Id="rId12" Type="http://schemas.openxmlformats.org/officeDocument/2006/relationships/hyperlink" Target="https://icont.ac/51eyW" TargetMode="External"/><Relationship Id="rId17" Type="http://schemas.openxmlformats.org/officeDocument/2006/relationships/hyperlink" Target="https://www.ncosc.gov/sites/default/files/2026-02/NCFS_Insights_February_2026.pptx" TargetMode="External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s://osc.cloud.nc.gov/NCFS/NCFS%20Insights/NCFS_Insights_February_2026..mp4" TargetMode="External"/><Relationship Id="rId1" Type="http://schemas.openxmlformats.org/officeDocument/2006/relationships/tags" Target="../tags/tag66.xml"/><Relationship Id="rId6" Type="http://schemas.openxmlformats.org/officeDocument/2006/relationships/hyperlink" Target="https://osc.cloud.nc.gov/NCFS/NCFS_FA_Transaction_Deep_Dive.2.4.26.mp4" TargetMode="External"/><Relationship Id="rId11" Type="http://schemas.openxmlformats.org/officeDocument/2006/relationships/hyperlink" Target="https://icont.ac/51fLp" TargetMode="External"/><Relationship Id="rId5" Type="http://schemas.openxmlformats.org/officeDocument/2006/relationships/hyperlink" Target="https://osc.cloud.nc.gov/NCFS/NCFS%20FA%20Information%20Session%20Transaction%20Deep%20Dive%20020426.mp4" TargetMode="External"/><Relationship Id="rId15" Type="http://schemas.openxmlformats.org/officeDocument/2006/relationships/hyperlink" Target="https://www.ncosc.gov/sites/default/files/2026-03/NCFS_Insights_Presentation_March2026.pptx" TargetMode="External"/><Relationship Id="rId10" Type="http://schemas.openxmlformats.org/officeDocument/2006/relationships/hyperlink" Target="https://icont.ac/51cQY" TargetMode="External"/><Relationship Id="rId4" Type="http://schemas.openxmlformats.org/officeDocument/2006/relationships/hyperlink" Target="https://icont.ac/51ebE" TargetMode="External"/><Relationship Id="rId9" Type="http://schemas.openxmlformats.org/officeDocument/2006/relationships/hyperlink" Target="https://icont.ac/51cQX" TargetMode="External"/><Relationship Id="rId14" Type="http://schemas.openxmlformats.org/officeDocument/2006/relationships/hyperlink" Target="https://osc.cloud.nc.gov/NCFS/NCFS_Insights_March2026.mp4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osc.gov/training/ncfs-system-training/NCFS-help-documents" TargetMode="External"/><Relationship Id="rId13" Type="http://schemas.openxmlformats.org/officeDocument/2006/relationships/hyperlink" Target="https://www.ncosc.gov/state-suppliers/electronic-payment-form-additional-resource" TargetMode="External"/><Relationship Id="rId18" Type="http://schemas.openxmlformats.org/officeDocument/2006/relationships/hyperlink" Target="https://www.ncosc.gov/contact-us" TargetMode="External"/><Relationship Id="rId3" Type="http://schemas.openxmlformats.org/officeDocument/2006/relationships/notesSlide" Target="../notesSlides/notesSlide32.xml"/><Relationship Id="rId7" Type="http://schemas.openxmlformats.org/officeDocument/2006/relationships/hyperlink" Target="https://www.ncosc.gov/training/ncfs-system-training/ncfs-help-documents/gen-11-ncfs-reference-links" TargetMode="External"/><Relationship Id="rId12" Type="http://schemas.openxmlformats.org/officeDocument/2006/relationships/hyperlink" Target="https://www.ncosc.gov/sites/default/files/2026-03/Supplier%20Electronic%20Payment%20Form.pdf" TargetMode="External"/><Relationship Id="rId17" Type="http://schemas.openxmlformats.org/officeDocument/2006/relationships/hyperlink" Target="https://www.ncosc.gov/training/ncfs-system-training/ncfs-help-documents/gl-50-inquire-detail-balance" TargetMode="External"/><Relationship Id="rId2" Type="http://schemas.openxmlformats.org/officeDocument/2006/relationships/slideLayout" Target="../slideLayouts/slideLayout9.xml"/><Relationship Id="rId16" Type="http://schemas.openxmlformats.org/officeDocument/2006/relationships/hyperlink" Target="https://www.ncosc.gov/state-agency-resources/chart-accounts/ncfs-chart-accounts/ncfs-coa-maintenance" TargetMode="External"/><Relationship Id="rId1" Type="http://schemas.openxmlformats.org/officeDocument/2006/relationships/tags" Target="../tags/tag67.xml"/><Relationship Id="rId6" Type="http://schemas.openxmlformats.org/officeDocument/2006/relationships/hyperlink" Target="https://www.ncosc.gov/state-agency-resources/ncfs-resources/ncfs-system-information" TargetMode="External"/><Relationship Id="rId11" Type="http://schemas.openxmlformats.org/officeDocument/2006/relationships/hyperlink" Target="mailto:%20ncfsepay@ncosc.gov" TargetMode="External"/><Relationship Id="rId5" Type="http://schemas.openxmlformats.org/officeDocument/2006/relationships/hyperlink" Target="https://www.ncosc.gov/state-agency-resources/ncfs-resources" TargetMode="External"/><Relationship Id="rId15" Type="http://schemas.openxmlformats.org/officeDocument/2006/relationships/hyperlink" Target="https://www.ncosc.gov/training/ncfs-system-training/ncfs-help-documents/po-18-run-supplier-reports" TargetMode="External"/><Relationship Id="rId10" Type="http://schemas.openxmlformats.org/officeDocument/2006/relationships/hyperlink" Target="https://www.ncosc.gov/state-agency-resources/ncfs-resources/agency-year-end-activity-checklist-and-instructions" TargetMode="External"/><Relationship Id="rId19" Type="http://schemas.openxmlformats.org/officeDocument/2006/relationships/hyperlink" Target="mailto:ncfs@ncosc.gov" TargetMode="External"/><Relationship Id="rId4" Type="http://schemas.openxmlformats.org/officeDocument/2006/relationships/hyperlink" Target="https://www.ncosc.gov/sites/default/files/2026-02/NCFS_IC_Contacts_021026.xlsx" TargetMode="External"/><Relationship Id="rId9" Type="http://schemas.openxmlformats.org/officeDocument/2006/relationships/hyperlink" Target="https://www.ncosc.gov/training/ncfs-system-training" TargetMode="External"/><Relationship Id="rId14" Type="http://schemas.openxmlformats.org/officeDocument/2006/relationships/hyperlink" Target="https://www.ncosc.gov/sites/default/files/2025-02/Epay_Process_Help_Info_021925.pdf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8.xml"/><Relationship Id="rId5" Type="http://schemas.openxmlformats.org/officeDocument/2006/relationships/hyperlink" Target="https://teams.microsoft.com/l/meetup-join/19%3ameeting_ZjdhN2Y4ZDEtYjUyZC00YjE1LWFkZjAtYWRiNGNkZjcxMTRh%40thread.v2/0?context=%7b%22Tid%22%3a%22a1f43f48-54fe-433f-9378-968b45bc6665%22%2c%22Oid%22%3a%22a97f2b47-fee0-4f84-a663-b1d45b4d0254%22%7d" TargetMode="External"/><Relationship Id="rId4" Type="http://schemas.openxmlformats.org/officeDocument/2006/relationships/hyperlink" Target="https://teams.microsoft.com/meet/29629690609402?p=L1aXdshL1IH7xlzfqq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9.xml"/><Relationship Id="rId6" Type="http://schemas.openxmlformats.org/officeDocument/2006/relationships/hyperlink" Target="mailto:ncfs@ncosc.gov" TargetMode="External"/><Relationship Id="rId5" Type="http://schemas.openxmlformats.org/officeDocument/2006/relationships/hyperlink" Target="https://forms.office.com/g/sdmj3R5FTM" TargetMode="External"/><Relationship Id="rId4" Type="http://schemas.openxmlformats.org/officeDocument/2006/relationships/image" Target="../media/image2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10" Type="http://schemas.microsoft.com/office/2007/relationships/hdphoto" Target="../media/hdphoto1.wdp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1.xml"/><Relationship Id="rId6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4" Type="http://schemas.openxmlformats.org/officeDocument/2006/relationships/hyperlink" Target="mailto:ncfsepay@ncosc.gov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3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4" Type="http://schemas.openxmlformats.org/officeDocument/2006/relationships/hyperlink" Target="mailto:ncfs@ncosc.go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B2FD2-8A71-619C-1F63-8D71EE560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CD0E3-9D58-6E54-3EAC-D3669186EA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6000"/>
              <a:t>NCFS </a:t>
            </a:r>
            <a:r>
              <a:rPr lang="en-US" sz="6000">
                <a:ea typeface="Calibri"/>
                <a:cs typeface="Calibri"/>
              </a:rPr>
              <a:t>Insigh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19813C-A772-4C9D-6D8B-C686A4A4F7B4}"/>
              </a:ext>
            </a:extLst>
          </p:cNvPr>
          <p:cNvSpPr txBox="1">
            <a:spLocks/>
          </p:cNvSpPr>
          <p:nvPr/>
        </p:nvSpPr>
        <p:spPr>
          <a:xfrm>
            <a:off x="1524000" y="3167743"/>
            <a:ext cx="9692640" cy="12771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232B7C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April 1, 2026</a:t>
            </a:r>
            <a:endParaRPr lang="en-US">
              <a:ea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949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40C9A-D942-F2CA-1411-A0FE91451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FDE27-3110-74B9-E394-51FB30F1C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ePay Reminder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106255B-4FF7-C8F3-7716-E88FB26BFD48}"/>
              </a:ext>
            </a:extLst>
          </p:cNvPr>
          <p:cNvSpPr txBox="1">
            <a:spLocks/>
          </p:cNvSpPr>
          <p:nvPr/>
        </p:nvSpPr>
        <p:spPr>
          <a:xfrm>
            <a:off x="838200" y="1150374"/>
            <a:ext cx="10974323" cy="5515121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Review all Supplier Electronic Payment form requests to ensure all required fields on the form are completed, prior to sending them to NC OSC for review.</a:t>
            </a:r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Do not provide Suppliers any NCFS system information: TAX ID/EIN number, addresses, bank names or account number details in the system</a:t>
            </a:r>
            <a:r>
              <a:rPr lang="en-US" sz="2400" b="1" i="1" dirty="0"/>
              <a:t>. </a:t>
            </a:r>
            <a:r>
              <a:rPr lang="en-US" sz="2400" b="1" dirty="0"/>
              <a:t>It is imperative that the supplier provides this information on the Electronic Payment Request form to help prevent fraud.</a:t>
            </a:r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Attach the required supporting bank document with all request forms. Deposit Authorizations are only acceptable when signed and dated by bank employee. </a:t>
            </a:r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Agencies can assist suppliers with completing the Security Verification form, but it is important that Suppliers complete and submit the form.</a:t>
            </a:r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Always send emails and responses to </a:t>
            </a:r>
            <a:r>
              <a:rPr lang="en-US" sz="2400" dirty="0">
                <a:hlinkClick r:id="rId4"/>
              </a:rPr>
              <a:t>ncfsepay@ncosc.gov</a:t>
            </a:r>
            <a:r>
              <a:rPr lang="en-US" sz="2400" dirty="0"/>
              <a:t> and not to individual team member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2E0B1A-8AF3-BA79-195C-B3D874601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0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99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23B64-7558-FB46-A26B-BECFBF62A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B3C22-78C6-400E-8189-7B4759870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 dirty="0" err="1"/>
              <a:t>ePay</a:t>
            </a:r>
            <a:r>
              <a:rPr lang="en-US" dirty="0"/>
              <a:t> Reminders – NC </a:t>
            </a:r>
            <a:r>
              <a:rPr lang="en-US" dirty="0" err="1"/>
              <a:t>ePay</a:t>
            </a:r>
            <a:r>
              <a:rPr lang="en-US" dirty="0"/>
              <a:t> Suppliers Report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0A66B2C-270C-A802-7E14-02B5E3429276}"/>
              </a:ext>
            </a:extLst>
          </p:cNvPr>
          <p:cNvSpPr txBox="1">
            <a:spLocks/>
          </p:cNvSpPr>
          <p:nvPr/>
        </p:nvSpPr>
        <p:spPr>
          <a:xfrm>
            <a:off x="838200" y="1151730"/>
            <a:ext cx="10845799" cy="762207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100" dirty="0"/>
              <a:t>Review Supplier ACH status updates by utilizing the NC </a:t>
            </a:r>
            <a:r>
              <a:rPr lang="en-US" sz="5100" dirty="0" err="1"/>
              <a:t>ePay</a:t>
            </a:r>
            <a:r>
              <a:rPr lang="en-US" sz="5100" dirty="0"/>
              <a:t> Suppliers Report (RPTPO009) under Tools&gt;Reports and Analytics</a:t>
            </a:r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6" name="Picture 5" descr="NC Suppliers Dashboard in NCFS with Supplier Payment Configuration tab outlined with red box and ePay Suppliers node open showing supplier information.">
            <a:extLst>
              <a:ext uri="{FF2B5EF4-FFF2-40B4-BE49-F238E27FC236}">
                <a16:creationId xmlns:a16="http://schemas.microsoft.com/office/drawing/2014/main" id="{75297658-0FFD-FA79-7666-80F63AD1F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6545" y="1913937"/>
            <a:ext cx="9638909" cy="430174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000A63-2B3F-E7C8-9C71-61FA99DC2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880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527CC-7213-5B9A-A9F1-111276B0B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9E46A-79DA-0838-33CC-20718BEFB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 err="1"/>
              <a:t>ePay</a:t>
            </a:r>
            <a:r>
              <a:rPr lang="en-US"/>
              <a:t> Link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38B6593-1240-AFB2-83BF-44D2FD7C81A5}"/>
              </a:ext>
            </a:extLst>
          </p:cNvPr>
          <p:cNvSpPr txBox="1">
            <a:spLocks/>
          </p:cNvSpPr>
          <p:nvPr/>
        </p:nvSpPr>
        <p:spPr>
          <a:xfrm>
            <a:off x="838200" y="1253331"/>
            <a:ext cx="10974323" cy="2266617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hlinkClick r:id="rId4"/>
              </a:rPr>
              <a:t>Supplier Reports in NCFS</a:t>
            </a:r>
            <a:endParaRPr lang="en-US" sz="2800" dirty="0"/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hlinkClick r:id="rId5"/>
              </a:rPr>
              <a:t>Electronic Payment Request form </a:t>
            </a:r>
            <a:endParaRPr lang="en-US" sz="2800" dirty="0"/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hlinkClick r:id="rId6"/>
              </a:rPr>
              <a:t>Electronic Additional information</a:t>
            </a:r>
            <a:endParaRPr lang="en-US" sz="2800" dirty="0"/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hlinkClick r:id="rId7"/>
              </a:rPr>
              <a:t>Electronic Process Help</a:t>
            </a:r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D2E105-C3A4-2729-4457-14C73C0B43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1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4509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5A8E6-A9AD-9F44-DD51-7BDAE74D8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F22C1-6719-F544-4BCD-F55AE2282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Chart Maintenance - Disab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8C22D6-CA5B-1FD1-67AE-87107C3789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5915" y="1859310"/>
            <a:ext cx="2225414" cy="229428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C4D0BC-5C57-5C23-31A5-E49CA8E8F2DF}"/>
              </a:ext>
            </a:extLst>
          </p:cNvPr>
          <p:cNvSpPr txBox="1"/>
          <p:nvPr/>
        </p:nvSpPr>
        <p:spPr>
          <a:xfrm>
            <a:off x="3447625" y="4251416"/>
            <a:ext cx="499112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Priscilla Roberts </a:t>
            </a:r>
          </a:p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Finance Tea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3E88EB-1BCF-BFA6-423D-054EC78BC193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B6B96A-8CB4-0C42-B5FC-4B4EA5E3A2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31AA867-F012-A971-E5F8-8F83CF66BD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F1E49FD-138D-1F2D-DAC4-D6922B717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82820-6EBA-060C-BF8A-C11DC0CF73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45423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13A5B4-20A4-A4C9-7161-738851909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9F7F6-7984-3A1B-1A7A-83F9F383F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Account Combination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1D18B6-A288-CF23-AC0F-DA2308AE2A48}"/>
              </a:ext>
            </a:extLst>
          </p:cNvPr>
          <p:cNvSpPr txBox="1"/>
          <p:nvPr/>
        </p:nvSpPr>
        <p:spPr>
          <a:xfrm>
            <a:off x="952497" y="1214491"/>
            <a:ext cx="10837333" cy="172354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ior to disabling account combinations:</a:t>
            </a:r>
          </a:p>
          <a:p>
            <a:pPr lvl="1"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arch Inquire on Detail Balance screen to verify you have no ending balances. </a:t>
            </a:r>
            <a:r>
              <a:rPr lang="en-US" sz="2650" dirty="0">
                <a:solidFill>
                  <a:prstClr val="black"/>
                </a:solidFill>
                <a:ea typeface="Calibri"/>
                <a:cs typeface="Calibri"/>
              </a:rPr>
              <a:t>Ending Balances – Submit a journal entry to move the ending balances to an account combination that is enabled.</a:t>
            </a:r>
            <a:endParaRPr lang="en-US" sz="265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F9581B-2374-F4F5-DF73-52AAEE5A9F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497" y="3071745"/>
            <a:ext cx="9522507" cy="328699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6396FBF-B0DC-66C9-333E-5147593AD32F}"/>
              </a:ext>
            </a:extLst>
          </p:cNvPr>
          <p:cNvSpPr txBox="1"/>
          <p:nvPr/>
        </p:nvSpPr>
        <p:spPr>
          <a:xfrm>
            <a:off x="6762751" y="4148667"/>
            <a:ext cx="3608917" cy="1354217"/>
          </a:xfrm>
          <a:prstGeom prst="rect">
            <a:avLst/>
          </a:prstGeom>
          <a:noFill/>
          <a:ln w="57150">
            <a:solidFill>
              <a:srgbClr val="FFFF00"/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1600" dirty="0">
              <a:ea typeface="Calibri"/>
              <a:cs typeface="Calibri"/>
            </a:endParaRPr>
          </a:p>
          <a:p>
            <a:r>
              <a:rPr lang="en-US" sz="1600" dirty="0">
                <a:ea typeface="Calibri"/>
                <a:cs typeface="Calibri"/>
              </a:rPr>
              <a:t>User Tip: Key what you see</a:t>
            </a:r>
            <a:endParaRPr lang="en-US" dirty="0">
              <a:ea typeface="Calibri"/>
              <a:cs typeface="Calibri"/>
            </a:endParaRPr>
          </a:p>
          <a:p>
            <a:r>
              <a:rPr lang="en-US" sz="1600" dirty="0">
                <a:ea typeface="Calibri"/>
                <a:cs typeface="Calibri"/>
              </a:rPr>
              <a:t>     Negative Ending Balance – Key a Debit</a:t>
            </a:r>
          </a:p>
          <a:p>
            <a:r>
              <a:rPr lang="en-US" sz="1600" dirty="0">
                <a:ea typeface="Calibri"/>
                <a:cs typeface="Calibri"/>
              </a:rPr>
              <a:t>     Positive Ending Balance – Key a Credit</a:t>
            </a:r>
          </a:p>
          <a:p>
            <a:pPr algn="l"/>
            <a:endParaRPr lang="en-US" dirty="0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8795A5-6C62-1CAF-D3E0-67BC968C43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7416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42F4-3F1B-B5B0-E35D-C72520BA0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462D4-DA42-3AB6-A454-FC73C1D4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Disable Account Combination Template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4C8121-9F7B-EC21-7B0F-A11F46EDF8DA}"/>
              </a:ext>
            </a:extLst>
          </p:cNvPr>
          <p:cNvSpPr txBox="1"/>
          <p:nvPr/>
        </p:nvSpPr>
        <p:spPr>
          <a:xfrm>
            <a:off x="952499" y="1187113"/>
            <a:ext cx="10837333" cy="32628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gency Account Combination Template </a:t>
            </a:r>
          </a:p>
          <a:p>
            <a:pPr marL="914400" lvl="1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Three Tabs: 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2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Instructions</a:t>
            </a: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– Guide for completing account combination spreadsheet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ccount Combinations – Active spreadsheet for your request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ample – Reference model for a correctly formatted request</a:t>
            </a:r>
          </a:p>
          <a:p>
            <a:pPr marL="914400" lvl="1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To disable: </a:t>
            </a:r>
            <a:r>
              <a:rPr lang="en-US" sz="265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N</a:t>
            </a: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for Enabled and Allow Posting</a:t>
            </a:r>
            <a:endParaRPr lang="en-US" sz="2650" dirty="0">
              <a:solidFill>
                <a:prstClr val="black"/>
              </a:solidFill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D8561A-D416-C7BA-5B3C-A8A4D4DDEB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059" y="4715270"/>
            <a:ext cx="10829881" cy="56341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9B43DD-09B9-D890-2096-06D9126B4F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0090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35E4F9-52DD-7706-0F41-CFB1AC73A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A094-1DC0-9C02-23D4-4944AA8A3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Disable Segment Valu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010CEF-BB3C-991A-9802-7F17233EA201}"/>
              </a:ext>
            </a:extLst>
          </p:cNvPr>
          <p:cNvSpPr txBox="1"/>
          <p:nvPr/>
        </p:nvSpPr>
        <p:spPr>
          <a:xfrm>
            <a:off x="952496" y="1226348"/>
            <a:ext cx="10837333" cy="258583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ior to disabling a segment value: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arch Inquire on Detail Balance screen to verify you have no ending balances. </a:t>
            </a:r>
            <a:r>
              <a:rPr lang="en-US" sz="2650" dirty="0">
                <a:solidFill>
                  <a:prstClr val="black"/>
                </a:solidFill>
                <a:ea typeface="Calibri"/>
                <a:cs typeface="Calibri"/>
              </a:rPr>
              <a:t>Ending Balances – Submit a journal entry to move the ending balances to a segment value that is enabled. </a:t>
            </a:r>
          </a:p>
          <a:p>
            <a:pPr lvl="2" indent="-45720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en-US" sz="2650" dirty="0"/>
              <a:t>NC Fixed Asset Report with COA (RPT-GM-021) – Active Fixed Assets – Transfer or Retire</a:t>
            </a:r>
            <a:endParaRPr lang="en-US" sz="265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67097B-DF5A-BBDB-8312-0A6CEA94F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422" y="4268061"/>
            <a:ext cx="9763155" cy="1635326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11F27C-A48A-0BAF-B4E3-FB2C3B054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0978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A683A-BAAF-8316-E591-F5AA938B3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1126B-DD9D-C62F-002B-54EEE6CB6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Disable Segment Value Template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34BEE6-2EDF-E545-E254-75E817ACDCE3}"/>
              </a:ext>
            </a:extLst>
          </p:cNvPr>
          <p:cNvSpPr txBox="1"/>
          <p:nvPr/>
        </p:nvSpPr>
        <p:spPr>
          <a:xfrm>
            <a:off x="952499" y="1056412"/>
            <a:ext cx="10837333" cy="427847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 Templates</a:t>
            </a:r>
          </a:p>
          <a:p>
            <a:pPr marL="914400" lvl="1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Four Tabs: 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Instructions – Guide on how to complete the Current spreadsheet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i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Current – Active spreadsheet for your request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ample – Reference model for a correctly formatted request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arent – Provides the parent value for all Agencies </a:t>
            </a:r>
          </a:p>
          <a:p>
            <a:pPr marL="914400" lvl="1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i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gment Value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Current Tab</a:t>
            </a: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Action Codes - Add, Move, 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op Update </a:t>
            </a:r>
            <a:endParaRPr lang="en-US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1371600" lvl="2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ummary, Enabled, Allow Posting, Allow Budgeting</a:t>
            </a:r>
          </a:p>
          <a:p>
            <a:pPr marL="1828800" lvl="3" indent="-45720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N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5D135F-576C-F807-2DB6-EFCC7440AC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601" y="5357892"/>
            <a:ext cx="9866798" cy="88739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FD9A1C-9DD9-4F5B-0CA4-D2F819A0A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05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D00EA-013A-9FF7-3778-A5E2ACDD1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93469-67B7-3B38-5FAF-7F36EA67A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499" y="365125"/>
            <a:ext cx="9528925" cy="634219"/>
          </a:xfrm>
        </p:spPr>
        <p:txBody>
          <a:bodyPr/>
          <a:lstStyle/>
          <a:p>
            <a:r>
              <a:rPr lang="en-US" dirty="0"/>
              <a:t>COA and Inquire on Detail Balance Lin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BF447E-2E1F-ECBA-D63C-56ED0D4B46CE}"/>
              </a:ext>
            </a:extLst>
          </p:cNvPr>
          <p:cNvSpPr txBox="1"/>
          <p:nvPr/>
        </p:nvSpPr>
        <p:spPr>
          <a:xfrm>
            <a:off x="952499" y="1214545"/>
            <a:ext cx="10837333" cy="9955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ea typeface="Calibri"/>
                <a:cs typeface="Calibri"/>
                <a:hlinkClick r:id="rId4"/>
              </a:rPr>
              <a:t>NCFS Chart of Account Maintenance</a:t>
            </a:r>
            <a:endParaRPr lang="en-US" sz="265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650" dirty="0">
                <a:solidFill>
                  <a:prstClr val="black"/>
                </a:solidFill>
                <a:ea typeface="Calibri"/>
                <a:cs typeface="Calibri"/>
                <a:hlinkClick r:id="rId5"/>
              </a:rPr>
              <a:t>QRG-50 Inquire Detail Balance</a:t>
            </a:r>
            <a:endParaRPr lang="en-US" sz="2650" dirty="0">
              <a:solidFill>
                <a:prstClr val="black"/>
              </a:solidFill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F7A15-57BD-2911-0BBB-E9BB7FAE4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9431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CD95C-E030-F41B-9A8C-5D0ABB574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956D7-47CD-65DF-1B2A-48799AE90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Year End &amp; BSR Project Update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E91D2EA-9A72-1D98-A72A-B5784A6238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2" t="2807" r="3290" b="4154"/>
          <a:stretch>
            <a:fillRect/>
          </a:stretch>
        </p:blipFill>
        <p:spPr bwMode="auto">
          <a:xfrm>
            <a:off x="4956047" y="1947671"/>
            <a:ext cx="1965961" cy="201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59E6393-BEB0-E700-8D17-83AC4DD2DC86}"/>
              </a:ext>
            </a:extLst>
          </p:cNvPr>
          <p:cNvSpPr txBox="1"/>
          <p:nvPr/>
        </p:nvSpPr>
        <p:spPr>
          <a:xfrm>
            <a:off x="3447625" y="4251416"/>
            <a:ext cx="499112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Taylor Brumbeloe</a:t>
            </a:r>
          </a:p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eputy State Controller, NCF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154196C-839A-070F-13F8-F69C239FD53F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91165D-3389-C0E1-CAE7-2DBE695840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49DB7E3-A18B-C39E-D631-4C4CAFCB2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3EA374-40B3-4A63-992E-1657FB8A58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B7DEF8-0053-B2BA-16C6-973D04754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4654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B81A0-5131-35F6-0B22-8A0B9FA5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74323" cy="63421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b="1" kern="1200">
                <a:latin typeface="+mn-lt"/>
                <a:ea typeface="+mj-ea"/>
                <a:cs typeface="+mj-cs"/>
              </a:rPr>
              <a:t>Welcome</a:t>
            </a:r>
            <a:endParaRPr lang="en-US" b="1" kern="1200">
              <a:highlight>
                <a:srgbClr val="FFFF00"/>
              </a:highlight>
              <a:latin typeface="+mn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42988-53F0-37E5-E223-34C06CCE56FC}"/>
              </a:ext>
            </a:extLst>
          </p:cNvPr>
          <p:cNvSpPr txBox="1"/>
          <p:nvPr/>
        </p:nvSpPr>
        <p:spPr>
          <a:xfrm>
            <a:off x="838200" y="1255777"/>
            <a:ext cx="5181600" cy="458419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50"/>
              <a:t>Housekeeping </a:t>
            </a:r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en-US" sz="2650"/>
              <a:t>Introductions</a:t>
            </a:r>
          </a:p>
          <a:p>
            <a:pPr defTabSz="914377">
              <a:lnSpc>
                <a:spcPct val="90000"/>
              </a:lnSpc>
              <a:spcBef>
                <a:spcPts val="1000"/>
              </a:spcBef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  <a:p>
            <a:pPr marL="228594" indent="-228594" defTabSz="914377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lang="en-US" sz="2667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6A0B30-A581-349A-8B40-94FA8B0BE4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2310766"/>
            <a:ext cx="5181600" cy="247421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1F7E04-ED77-6419-BD6D-C6F2B838D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61321"/>
            <a:ext cx="548640" cy="4325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5155C8-06EF-4D76-B723-5863044CF28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46546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C55A9A-008D-F4A5-0320-B5974B606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D0533-B685-1F93-AF24-BCF1629E5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Fiscal Year 2026 Closeou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04B4C5-9EB6-474C-8D47-95BCF24BA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E2A47339-4912-A4F4-2F5A-EEF6813197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185" y="1320166"/>
            <a:ext cx="4585501" cy="476901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650" dirty="0">
                <a:ea typeface="Calibri"/>
                <a:cs typeface="Calibri"/>
              </a:rPr>
              <a:t>Fiscal Year End is</a:t>
            </a:r>
            <a:r>
              <a:rPr lang="en-US" sz="2650" b="1" dirty="0">
                <a:ea typeface="Calibri"/>
                <a:cs typeface="Calibri"/>
              </a:rPr>
              <a:t> June 30</a:t>
            </a:r>
            <a:r>
              <a:rPr lang="en-US" sz="2650" b="1" baseline="30000" dirty="0">
                <a:ea typeface="Calibri"/>
                <a:cs typeface="Calibri"/>
              </a:rPr>
              <a:t>th</a:t>
            </a:r>
            <a:r>
              <a:rPr lang="en-US" sz="2650" b="1" dirty="0">
                <a:ea typeface="Calibri"/>
                <a:cs typeface="Calibri"/>
              </a:rPr>
              <a:t>.</a:t>
            </a:r>
          </a:p>
          <a:p>
            <a:pPr marL="227965" indent="-227965">
              <a:lnSpc>
                <a:spcPct val="114000"/>
              </a:lnSpc>
              <a:buFont typeface="Arial" panose="05000000000000000000" pitchFamily="2" charset="2"/>
              <a:buChar char="•"/>
            </a:pPr>
            <a:r>
              <a:rPr lang="en-US" sz="2650" dirty="0">
                <a:ea typeface="Calibri"/>
                <a:cs typeface="Calibri"/>
              </a:rPr>
              <a:t>Review the </a:t>
            </a:r>
            <a:r>
              <a:rPr lang="en-US" sz="2650" dirty="0">
                <a:ea typeface="Calibri"/>
                <a:cs typeface="Calibri"/>
                <a:hlinkClick r:id="rId5"/>
              </a:rPr>
              <a:t>Year End Checklist</a:t>
            </a:r>
            <a:r>
              <a:rPr lang="en-US" sz="2650" dirty="0">
                <a:ea typeface="Calibri"/>
                <a:cs typeface="Calibri"/>
              </a:rPr>
              <a:t> and dates to refamiliarize yourself with the tasks and timelines.</a:t>
            </a:r>
          </a:p>
          <a:p>
            <a:pPr marL="227965" indent="-227965">
              <a:lnSpc>
                <a:spcPct val="114000"/>
              </a:lnSpc>
              <a:buFont typeface="Arial" panose="05000000000000000000" pitchFamily="2" charset="2"/>
              <a:buChar char="•"/>
            </a:pPr>
            <a:r>
              <a:rPr lang="en-US" sz="2650" b="1" dirty="0">
                <a:ea typeface="Calibri"/>
                <a:cs typeface="Calibri"/>
              </a:rPr>
              <a:t>Updated checklist will be published by early April.</a:t>
            </a:r>
            <a:endParaRPr lang="en-US" dirty="0">
              <a:ea typeface="Calibri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BC73B9-C51A-F056-FAA8-CAF8BECB08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9686" y="1426809"/>
            <a:ext cx="6566152" cy="39943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AE9E7AB-B864-D5CE-5BA6-01D1D2F870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952B44-0319-9E66-D389-E9231585FD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4796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BA9AF-C266-13A0-6DF9-2162D52C0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008B6-7186-09F2-08A1-32C13D52D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737" y="37254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Fiscal Year End – Info Sess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4813CC-0EF7-5DF6-7873-5D6DCFF6E2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C92A602-D08C-01B5-00D7-7AA76220DC94}"/>
              </a:ext>
            </a:extLst>
          </p:cNvPr>
          <p:cNvSpPr/>
          <p:nvPr/>
        </p:nvSpPr>
        <p:spPr>
          <a:xfrm>
            <a:off x="1003782" y="1246526"/>
            <a:ext cx="9144000" cy="10972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2800" dirty="0"/>
              <a:t>Fixed Assets: April 2026 and June 2026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CF6A2C4-EFC9-6E98-4E2E-5FA73E0E1DDD}"/>
              </a:ext>
            </a:extLst>
          </p:cNvPr>
          <p:cNvSpPr/>
          <p:nvPr/>
        </p:nvSpPr>
        <p:spPr>
          <a:xfrm>
            <a:off x="1003782" y="2583564"/>
            <a:ext cx="9144000" cy="10972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2800" dirty="0"/>
              <a:t>Accrual Session (AP &amp; GL): June 2026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860A2C-175B-A937-8548-E51A3B1A93E2}"/>
              </a:ext>
            </a:extLst>
          </p:cNvPr>
          <p:cNvSpPr/>
          <p:nvPr/>
        </p:nvSpPr>
        <p:spPr>
          <a:xfrm>
            <a:off x="1003782" y="3920602"/>
            <a:ext cx="9144000" cy="10972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2800" dirty="0"/>
              <a:t>Smart View Session: June 9, 2026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8D6FFCD-583C-BEDD-FFC1-D1E0CCB1079A}"/>
              </a:ext>
            </a:extLst>
          </p:cNvPr>
          <p:cNvSpPr/>
          <p:nvPr/>
        </p:nvSpPr>
        <p:spPr>
          <a:xfrm>
            <a:off x="1003782" y="5257640"/>
            <a:ext cx="9144000" cy="10972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2800" dirty="0"/>
              <a:t>Monthly NCFS Insights: April through Ju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1F588-4613-3E91-EED0-137A43E777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7F05F-3642-5533-5AA3-490888A5F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7782" y="5806280"/>
            <a:ext cx="1943100" cy="8477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05461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5FAE3-B385-6925-BB30-F04DC975A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F4239-148F-DD96-CE7E-3CE02C8ED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Budget System Replacement Project - IBIS	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0E04861-629D-2B0B-EF86-7F7879D34C2C}"/>
              </a:ext>
            </a:extLst>
          </p:cNvPr>
          <p:cNvSpPr/>
          <p:nvPr/>
        </p:nvSpPr>
        <p:spPr>
          <a:xfrm>
            <a:off x="1524000" y="1290970"/>
            <a:ext cx="9144000" cy="13258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/>
              <a:t>Funding received in October 2025 to replace legacy statewide budget system – IBIS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0AE4E75-F738-BFDC-188F-3BE30493934B}"/>
              </a:ext>
            </a:extLst>
          </p:cNvPr>
          <p:cNvSpPr/>
          <p:nvPr/>
        </p:nvSpPr>
        <p:spPr>
          <a:xfrm>
            <a:off x="1524000" y="2915271"/>
            <a:ext cx="9144000" cy="13258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/>
              <a:t>Oracle Enterprise Performance Management (EPM) selected as software solution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79EA22D-D8DA-10DA-050E-EC5EB0736106}"/>
              </a:ext>
            </a:extLst>
          </p:cNvPr>
          <p:cNvSpPr/>
          <p:nvPr/>
        </p:nvSpPr>
        <p:spPr>
          <a:xfrm>
            <a:off x="1524000" y="4539572"/>
            <a:ext cx="9144000" cy="13258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/>
              <a:t>Deloitte selected as Implementation Partner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0AF028-94BC-F224-D958-E42A0A3B3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24510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13E9FD-A756-6D6D-D449-FFC2B41D5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57800A-6EC1-4162-5666-CDDEF1C91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073"/>
            <a:ext cx="10435936" cy="625271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Budget System Replacement Project - Phases 	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B8372D2-9201-6A94-248A-08F2CDF023AC}"/>
              </a:ext>
            </a:extLst>
          </p:cNvPr>
          <p:cNvSpPr/>
          <p:nvPr/>
        </p:nvSpPr>
        <p:spPr>
          <a:xfrm>
            <a:off x="628380" y="1828800"/>
            <a:ext cx="2980944" cy="363793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/>
              <a:t>Phase 1: </a:t>
            </a:r>
          </a:p>
          <a:p>
            <a:r>
              <a:rPr lang="en-US" sz="2000" dirty="0"/>
              <a:t>Development of base budget operations for execution of the biennial base budget </a:t>
            </a:r>
          </a:p>
          <a:p>
            <a:r>
              <a:rPr lang="en-US" sz="2000" dirty="0"/>
              <a:t>Target Date: September 1, 2026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F9F84A5-B286-9F7F-5F17-F30ECBB751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29665" y="3215147"/>
            <a:ext cx="776748" cy="625271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EAD8C3B-B8E8-F438-818E-575305332E3A}"/>
              </a:ext>
            </a:extLst>
          </p:cNvPr>
          <p:cNvSpPr/>
          <p:nvPr/>
        </p:nvSpPr>
        <p:spPr>
          <a:xfrm>
            <a:off x="4826754" y="1828799"/>
            <a:ext cx="2980944" cy="363793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/>
              <a:t>Phase 2: </a:t>
            </a:r>
          </a:p>
          <a:p>
            <a:r>
              <a:rPr lang="en-US" sz="2000" dirty="0"/>
              <a:t>Development of budget execution operations including budget certification activities, budget revisions, carryforwards and the allotment process</a:t>
            </a:r>
          </a:p>
          <a:p>
            <a:r>
              <a:rPr lang="en-US" sz="2000" dirty="0"/>
              <a:t>Target Date: July 1, 2027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D8A50A0-E447-7C2E-A2DA-28BA4473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28039" y="3215148"/>
            <a:ext cx="776748" cy="625271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BA1B61A-13A9-D97E-FF69-34BF26BD8355}"/>
              </a:ext>
            </a:extLst>
          </p:cNvPr>
          <p:cNvSpPr/>
          <p:nvPr/>
        </p:nvSpPr>
        <p:spPr>
          <a:xfrm>
            <a:off x="9025128" y="1828800"/>
            <a:ext cx="2980944" cy="363793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/>
              <a:t>Phase 3: </a:t>
            </a:r>
          </a:p>
          <a:p>
            <a:r>
              <a:rPr lang="en-US" sz="2000" dirty="0"/>
              <a:t>Development of Governor’s Recommended Budget processes, performance management &amp; other functionalities</a:t>
            </a:r>
          </a:p>
          <a:p>
            <a:r>
              <a:rPr lang="en-US" sz="2000" dirty="0"/>
              <a:t> Target Date: December 1, 2027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46441D-5DF8-5348-62FB-954936672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00929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2F40-5314-4C92-B98C-D74FC01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5013" y="356679"/>
            <a:ext cx="10969101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NCFS Train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 r="1501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066625" y="4251416"/>
            <a:ext cx="537212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Laura Lee</a:t>
            </a:r>
          </a:p>
          <a:p>
            <a:pPr algn="ctr"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OSC Training Manag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27860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CF04-2139-E50F-FFEF-BA0A3C9D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708" y="353402"/>
            <a:ext cx="9528925" cy="63421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Training Updates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50133F-C213-71B2-4A51-5853E3645E47}"/>
              </a:ext>
            </a:extLst>
          </p:cNvPr>
          <p:cNvSpPr txBox="1"/>
          <p:nvPr/>
        </p:nvSpPr>
        <p:spPr>
          <a:xfrm>
            <a:off x="838200" y="1306320"/>
            <a:ext cx="10360430" cy="41703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GL103 conversion to Web Based Training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New OTBI WBT in development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AP206 recently published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CM-13 QRG updated to include Multi Journal spreadsheet upload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endParaRPr lang="en-US" sz="2650">
              <a:ea typeface="Calibri"/>
              <a:cs typeface="Calibri"/>
            </a:endParaRPr>
          </a:p>
          <a:p>
            <a:pPr marL="171450" lvl="1"/>
            <a:r>
              <a:rPr lang="en-US" sz="2650">
                <a:ea typeface="Calibri"/>
                <a:cs typeface="Calibri"/>
              </a:rPr>
              <a:t>Post Class Survey</a:t>
            </a:r>
          </a:p>
          <a:p>
            <a:pPr marL="628650" lvl="1" indent="-457200">
              <a:buFont typeface="Arial" panose="020B0604020202020204" pitchFamily="34" charset="0"/>
              <a:buChar char="•"/>
            </a:pPr>
            <a:r>
              <a:rPr lang="en-US" sz="2650">
                <a:ea typeface="Calibri"/>
                <a:cs typeface="Calibri"/>
              </a:rPr>
              <a:t>Each course has a survey sent to participants after the course and then a few weeks out.  Please complete these surveys.</a:t>
            </a:r>
          </a:p>
          <a:p>
            <a:endParaRPr lang="en-US" sz="2650" i="1">
              <a:ea typeface="Calibri" panose="020F0502020204030204"/>
              <a:cs typeface="Calibri" panose="020F0502020204030204"/>
            </a:endParaRPr>
          </a:p>
          <a:p>
            <a:endParaRPr lang="en-US" sz="265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C1B34-E25D-976F-363A-E03A0C816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895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764A021-18F7-5A66-97C2-10A05569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nge Manage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CE900B-A071-207B-6394-442FF8D0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B2B9AA-2ACD-966A-A871-E789210A6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6" b="4536"/>
          <a:stretch/>
        </p:blipFill>
        <p:spPr>
          <a:xfrm>
            <a:off x="4830479" y="1796878"/>
            <a:ext cx="2225414" cy="22942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BBB265D-C908-5A58-8044-2C18C7CCFB44}"/>
              </a:ext>
            </a:extLst>
          </p:cNvPr>
          <p:cNvSpPr txBox="1"/>
          <p:nvPr/>
        </p:nvSpPr>
        <p:spPr>
          <a:xfrm>
            <a:off x="3447625" y="4251416"/>
            <a:ext cx="499112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ena Andr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CFS Engagement Lea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C7A680-A0A2-46E4-81B4-0523D4BE3DD5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90EF30-4BD5-4989-8BBA-7A2EC017A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7953733-06EA-A759-C0CE-F69B48B6F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BEC7AD-B2A6-4E9D-84AD-F786F31F3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9177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3F73A-A14C-140C-EB6B-3751E6049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E9180-FBEE-C357-E6B8-A2FEB899B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NCFS Spring Touchpoints 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C581AF-A03B-E427-2FC9-9290DC570BD1}"/>
              </a:ext>
            </a:extLst>
          </p:cNvPr>
          <p:cNvSpPr txBox="1"/>
          <p:nvPr/>
        </p:nvSpPr>
        <p:spPr>
          <a:xfrm>
            <a:off x="838200" y="1088571"/>
            <a:ext cx="10015694" cy="335707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Conducted 33 Agency touchpoints during the month of March.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Overall feedback has been positive as teams have been more comfortable in the system; support has been great.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University/Interface Orgs (23) touchpoints are scheduled to begin mid April.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ea typeface="Calibri"/>
                <a:cs typeface="Calibri"/>
              </a:rPr>
              <a:t>We will continue to discuss issues, share updates and review specific areas that agencies may still find challenging.</a:t>
            </a:r>
          </a:p>
          <a:p>
            <a:endParaRPr lang="en-US" sz="2400" b="1" dirty="0">
              <a:highlight>
                <a:srgbClr val="FFFF00"/>
              </a:highlight>
              <a:ea typeface="Calibri"/>
              <a:cs typeface="Calibri"/>
            </a:endParaRPr>
          </a:p>
          <a:p>
            <a:r>
              <a:rPr lang="en-US" sz="2400" b="1" dirty="0">
                <a:ea typeface="Calibri"/>
                <a:cs typeface="Calibri"/>
              </a:rPr>
              <a:t>Reminder:</a:t>
            </a:r>
            <a:r>
              <a:rPr lang="en-US" sz="2400" dirty="0">
                <a:ea typeface="Calibri"/>
                <a:cs typeface="Calibri"/>
              </a:rPr>
              <a:t> Complete the </a:t>
            </a:r>
            <a:r>
              <a:rPr lang="en-US" sz="2400" dirty="0">
                <a:ea typeface="Calibri"/>
                <a:cs typeface="Calibri"/>
                <a:hlinkClick r:id="rId4"/>
              </a:rPr>
              <a:t>Touchpoint survey</a:t>
            </a:r>
            <a:r>
              <a:rPr lang="en-US" sz="2400" dirty="0">
                <a:ea typeface="Calibri"/>
                <a:cs typeface="Calibri"/>
              </a:rPr>
              <a:t> prior to the meeting.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860983-73BF-8A19-2271-A3FC113C7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5753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C956A-0832-A153-8B3C-84A0E1B5C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81725-251E-A85D-2D94-50A01DBF5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</a:br>
            <a:r>
              <a:rPr lang="en-US">
                <a:ea typeface="Calibri"/>
                <a:cs typeface="Calibri"/>
              </a:rPr>
              <a:t>April 2026 Functional Calendar</a:t>
            </a:r>
            <a:br>
              <a:rPr lang="en-US">
                <a:ea typeface="Calibri"/>
                <a:cs typeface="Calibri"/>
              </a:rPr>
            </a:b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Calendar&#10;&#10;AI-generated content may be incorrect.">
            <a:extLst>
              <a:ext uri="{FF2B5EF4-FFF2-40B4-BE49-F238E27FC236}">
                <a16:creationId xmlns:a16="http://schemas.microsoft.com/office/drawing/2014/main" id="{CEA356ED-1DEC-81E7-5595-8AA8666E77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0552" y="1175721"/>
            <a:ext cx="8650224" cy="542624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D73CF9-245D-0C1E-405F-181D26DDF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6020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65DEE-4421-5DC7-A67E-919B8E91E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CB3E2-14C3-199E-EDD7-B5109339E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</a:br>
            <a:r>
              <a:rPr lang="en-US">
                <a:ea typeface="Calibri"/>
                <a:cs typeface="Calibri"/>
              </a:rPr>
              <a:t>May 2026 Functional Calendar</a:t>
            </a:r>
            <a:br>
              <a:rPr lang="en-US">
                <a:ea typeface="Calibri"/>
                <a:cs typeface="Calibri"/>
              </a:rPr>
            </a:br>
            <a:endParaRPr lang="en-US">
              <a:ea typeface="Calibri"/>
              <a:cs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B36C45-ECEB-5E07-415E-6BE7E2A9D0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6233" y="1106424"/>
            <a:ext cx="8294316" cy="557784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06AD56-FD80-8E49-A7F0-C71D3A9BC7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2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5142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A3CF6-BA14-8A7E-F620-A37BCC3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200EC-FE57-102C-B7BB-AAEAADF669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27965" indent="-227965"/>
            <a:r>
              <a:rPr lang="en-US" sz="2650" dirty="0"/>
              <a:t>Welcome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Functional 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Technical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Security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Training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OCM</a:t>
            </a:r>
          </a:p>
          <a:p>
            <a:pPr marL="227965" indent="-227965"/>
            <a:r>
              <a:rPr lang="en-US" sz="2650" dirty="0">
                <a:ea typeface="Calibri" panose="020F0502020204030204"/>
                <a:cs typeface="Calibri" panose="020F0502020204030204"/>
              </a:rPr>
              <a:t>Closing/Q&amp;A</a:t>
            </a:r>
          </a:p>
          <a:p>
            <a:pPr marL="227965" indent="-227965"/>
            <a:endParaRPr lang="en-US" sz="2650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27965" indent="-227965"/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984349-060F-D228-98FD-7E71A7E0EA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56994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6E9B28-E936-98DF-C781-0CE607B86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2F6773-1BBD-AD9C-DBF6-0F9EE3D4F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 dirty="0"/>
              <a:t>NCFS 2026 Communications Page - Gener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686A4B-1112-6E92-634C-5A6FC9D1B5F6}"/>
              </a:ext>
            </a:extLst>
          </p:cNvPr>
          <p:cNvSpPr txBox="1"/>
          <p:nvPr/>
        </p:nvSpPr>
        <p:spPr>
          <a:xfrm>
            <a:off x="970013" y="1161718"/>
            <a:ext cx="10042116" cy="4388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20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General Information</a:t>
            </a: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4"/>
              </a:rPr>
              <a:t>NCFS Interest Allocation Deposit Date Change (Jan. 5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5"/>
              </a:rPr>
              <a:t>DSS Sunset (Jan. 8, 26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6"/>
              </a:rPr>
              <a:t>NCFS 1099 Reminders (Jan. 15, 21, 28, 29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NCFS Newsletter (Jan. 20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8"/>
              </a:rPr>
              <a:t>NCFS 1099 Correction Invoices Reminder (Feb. 4, 18, March 11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9"/>
              </a:rPr>
              <a:t>NCFS Issue Being Addressed (Feb. 26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0"/>
              </a:rPr>
              <a:t>NCFS Inventory Updates (March 4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1"/>
              </a:rPr>
              <a:t>NCFS Bank Reconciliation Issue (March 9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2"/>
              </a:rPr>
              <a:t>New Oracle Cloud Infrastructure Identity Access Management (OCI IAM) (March 10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3"/>
              </a:rPr>
              <a:t>NCFS 1099 Invoice Reminder (March 23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kern="100" dirty="0">
                <a:solidFill>
                  <a:srgbClr val="467886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  <a:hlinkClick r:id="rId14"/>
              </a:rPr>
              <a:t>NCFS Oracle Cloud Infrastructure Identity Access Management (OCI IAM) (March 27)</a:t>
            </a:r>
            <a:endParaRPr lang="en-US" sz="2000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431A9C-007D-E2D7-805F-2919F46DB4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0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26643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FF13B-7E6B-60EF-2F96-3ADCDA1215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9AB1EB5-6087-25CE-1C3E-450522818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NCFS 2026 Communications P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2E6A91-549E-31FB-3F75-C8904060655E}"/>
              </a:ext>
            </a:extLst>
          </p:cNvPr>
          <p:cNvSpPr txBox="1"/>
          <p:nvPr/>
        </p:nvSpPr>
        <p:spPr>
          <a:xfrm>
            <a:off x="980694" y="1011948"/>
            <a:ext cx="7148322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b="1" i="0" dirty="0">
                <a:solidFill>
                  <a:srgbClr val="3B3B3B"/>
                </a:solidFill>
                <a:effectLst/>
                <a:latin typeface="system-ui"/>
              </a:rPr>
              <a:t>Information Sessions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4"/>
              </a:rPr>
              <a:t>NCFS FA Information Spreadsheet Deep Dive (Feb. 19, March 30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5"/>
              </a:rPr>
              <a:t>NCFS FA Information Session Transaction Deep Dive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6"/>
              </a:rPr>
              <a:t>NCFS FA Information Session Transaction Deep Dive Presentation (Feb. 4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7"/>
              </a:rPr>
              <a:t>NCFS FA Information Session FAQs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8"/>
              </a:rPr>
              <a:t>NCFS 1099 Presentation and Recording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9"/>
              </a:rPr>
              <a:t>NCFS 1099 Information Session (Jan. 20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0"/>
              </a:rPr>
              <a:t>NCFS Fixed Assets Information Session (Jan. 8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None/>
            </a:pPr>
            <a:br>
              <a:rPr lang="en-US" b="0" i="0" dirty="0">
                <a:solidFill>
                  <a:srgbClr val="3B3B3B"/>
                </a:solidFill>
                <a:effectLst/>
                <a:latin typeface="system-ui"/>
              </a:rPr>
            </a:br>
            <a:r>
              <a:rPr lang="en-US" b="1" i="0" dirty="0">
                <a:solidFill>
                  <a:srgbClr val="3B3B3B"/>
                </a:solidFill>
                <a:effectLst/>
                <a:latin typeface="system-ui"/>
              </a:rPr>
              <a:t>Month End Closing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1"/>
              </a:rPr>
              <a:t>NCFS February and March (March 27, 30, 31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2"/>
              </a:rPr>
              <a:t>NCFS January and February (Feb. 23, 26, 27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3"/>
              </a:rPr>
              <a:t>NCFS December 2025 and January 2026 (Jan. 23, 28, 29, 30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None/>
            </a:pPr>
            <a:br>
              <a:rPr lang="en-US" b="0" i="0" dirty="0">
                <a:solidFill>
                  <a:srgbClr val="3B3B3B"/>
                </a:solidFill>
                <a:effectLst/>
                <a:latin typeface="system-ui"/>
              </a:rPr>
            </a:br>
            <a:r>
              <a:rPr lang="en-US" b="1" i="0" dirty="0">
                <a:solidFill>
                  <a:srgbClr val="3B3B3B"/>
                </a:solidFill>
                <a:effectLst/>
                <a:latin typeface="system-ui"/>
              </a:rPr>
              <a:t>NCFS Insights Sessions</a:t>
            </a: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4"/>
              </a:rPr>
              <a:t>NCFS Insights (March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5"/>
              </a:rPr>
              <a:t>NCFS Insights Presentation (March 4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B3B3B"/>
                </a:solidFill>
                <a:effectLst/>
                <a:latin typeface="system-ui"/>
              </a:rPr>
              <a:t>WATCH: </a:t>
            </a:r>
            <a:r>
              <a:rPr lang="en-US" b="0" i="0" u="sng" dirty="0">
                <a:solidFill>
                  <a:srgbClr val="00436B"/>
                </a:solidFill>
                <a:effectLst/>
                <a:latin typeface="system-ui"/>
                <a:hlinkClick r:id="rId16"/>
              </a:rPr>
              <a:t>NCFS Insights (February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  <a:p>
            <a:pPr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i="0" u="sng" dirty="0">
                <a:solidFill>
                  <a:srgbClr val="0071B3"/>
                </a:solidFill>
                <a:effectLst/>
                <a:latin typeface="system-ui"/>
                <a:hlinkClick r:id="rId17"/>
              </a:rPr>
              <a:t>NCFS Insights Presentation (Feb. 4)</a:t>
            </a:r>
            <a:endParaRPr lang="en-US" b="0" i="0" dirty="0">
              <a:solidFill>
                <a:srgbClr val="3B3B3B"/>
              </a:solidFill>
              <a:effectLst/>
              <a:latin typeface="system-ui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C32A5D-5D2E-B61F-A434-5070C6753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1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81786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6A8D9-CF97-0199-A2AD-98A5BEE40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D4C9B-FEA2-D3AD-5698-991F49AB1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Useful Lin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9CE8E7-3E39-AAE0-C6B3-65BDB42D7A6A}"/>
              </a:ext>
            </a:extLst>
          </p:cNvPr>
          <p:cNvSpPr txBox="1"/>
          <p:nvPr/>
        </p:nvSpPr>
        <p:spPr>
          <a:xfrm>
            <a:off x="933979" y="1066271"/>
            <a:ext cx="10360430" cy="56323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  <a:hlinkClick r:id="rId4"/>
              </a:rPr>
              <a:t>NCFS IC Contacts</a:t>
            </a:r>
            <a:r>
              <a:rPr lang="en-US" sz="2000" u="sng" dirty="0">
                <a:solidFill>
                  <a:srgbClr val="0070C0"/>
                </a:solidFill>
              </a:rPr>
              <a:t> </a:t>
            </a:r>
            <a:r>
              <a:rPr lang="en-US" sz="2000" dirty="0">
                <a:solidFill>
                  <a:srgbClr val="0070C0"/>
                </a:solidFill>
              </a:rPr>
              <a:t>– </a:t>
            </a:r>
            <a:r>
              <a:rPr lang="en-US" sz="2000" b="1" dirty="0"/>
              <a:t>Check your Agency/University/Interface Group and update if needed.</a:t>
            </a:r>
            <a:r>
              <a:rPr lang="en-US" sz="2000" dirty="0">
                <a:solidFill>
                  <a:srgbClr val="0070C0"/>
                </a:solidFill>
              </a:rPr>
              <a:t>   </a:t>
            </a:r>
            <a:endParaRPr lang="en-US" sz="2000" u="sng" dirty="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</a:rPr>
              <a:t>NCFS 2026 Communications</a:t>
            </a:r>
            <a:endParaRPr lang="en-US" sz="2000" u="sng" dirty="0">
              <a:solidFill>
                <a:srgbClr val="0070C0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  <a:hlinkClick r:id="rId6"/>
              </a:rPr>
              <a:t>NCFS Functional Calendars</a:t>
            </a:r>
            <a:endParaRPr lang="en-US" sz="2000" u="sng" dirty="0">
              <a:solidFill>
                <a:srgbClr val="0070C0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Gen-11 Reference Links</a:t>
            </a:r>
            <a:endParaRPr lang="en-US" sz="2000" dirty="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Help Documents</a:t>
            </a:r>
            <a:endParaRPr lang="en-US" sz="2000" dirty="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</a:rPr>
              <a:t>NCFS Resources</a:t>
            </a:r>
            <a:endParaRPr lang="en-US" sz="2000" dirty="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70C0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FS System Training</a:t>
            </a:r>
            <a:endParaRPr lang="en-US" sz="2000" u="sng" dirty="0">
              <a:solidFill>
                <a:srgbClr val="0070C0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ea typeface="Calibri"/>
                <a:cs typeface="Calibri"/>
                <a:hlinkClick r:id="rId10"/>
              </a:rPr>
              <a:t>NCFS Year End Checklist</a:t>
            </a:r>
            <a:endParaRPr lang="en-US" sz="2000" dirty="0">
              <a:ea typeface="Calibri"/>
              <a:cs typeface="Calibri"/>
            </a:endParaRPr>
          </a:p>
          <a:p>
            <a:endParaRPr lang="en-US" dirty="0">
              <a:solidFill>
                <a:srgbClr val="0070C0"/>
              </a:solidFill>
              <a:ea typeface="Calibri"/>
              <a:cs typeface="Calibri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 err="1">
                <a:hlinkClick r:id="rId11"/>
              </a:rPr>
              <a:t>ePay</a:t>
            </a:r>
            <a:r>
              <a:rPr lang="en-US" sz="2000" u="sng" dirty="0">
                <a:hlinkClick r:id="rId11"/>
              </a:rPr>
              <a:t> Email</a:t>
            </a:r>
            <a:endParaRPr lang="en-US" sz="2000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hlinkClick r:id="rId12"/>
              </a:rPr>
              <a:t>Electronic Payment Request Form</a:t>
            </a:r>
            <a:endParaRPr lang="en-US" sz="2000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hlinkClick r:id="rId13"/>
              </a:rPr>
              <a:t>Electronic Additional Information</a:t>
            </a:r>
            <a:endParaRPr lang="en-US" sz="2000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u="sng" dirty="0">
                <a:hlinkClick r:id="rId14"/>
              </a:rPr>
              <a:t>Electronic Process Help</a:t>
            </a:r>
            <a:endParaRPr lang="en-US" sz="2000" u="sng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hlinkClick r:id="rId15"/>
              </a:rPr>
              <a:t>Supplier Reports in NCFS</a:t>
            </a:r>
            <a:endParaRPr lang="en-US" sz="2000" dirty="0"/>
          </a:p>
          <a:p>
            <a:endParaRPr lang="en-US" dirty="0">
              <a:solidFill>
                <a:srgbClr val="0070C0"/>
              </a:solidFill>
              <a:ea typeface="Calibri"/>
              <a:cs typeface="Calibri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 dirty="0">
                <a:hlinkClick r:id="rId16"/>
              </a:rPr>
              <a:t>NCFS COA Maintenance</a:t>
            </a:r>
            <a:endParaRPr lang="en-US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 dirty="0">
                <a:hlinkClick r:id="rId17"/>
              </a:rPr>
              <a:t>GL-50 Inquire Detail Balance</a:t>
            </a:r>
            <a:endParaRPr lang="en-US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u="sng" dirty="0">
                <a:hlinkClick r:id="rId18"/>
              </a:rPr>
              <a:t>Contact Us</a:t>
            </a:r>
            <a:r>
              <a:rPr lang="en-US" dirty="0"/>
              <a:t> or </a:t>
            </a:r>
            <a:r>
              <a:rPr lang="en-US" dirty="0">
                <a:hlinkClick r:id="rId19"/>
              </a:rPr>
              <a:t>ncfs@ncosc.gov</a:t>
            </a:r>
            <a:endParaRPr lang="en-US" sz="26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3D91CF-BF08-8332-1B8C-F44DE84E3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7131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2F060-BBFF-FD9B-A071-A730121C7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BC079-AF3D-836C-A506-A4157091B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What's Nex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A5D731-31BD-8207-EA18-36787A670813}"/>
              </a:ext>
            </a:extLst>
          </p:cNvPr>
          <p:cNvSpPr txBox="1"/>
          <p:nvPr/>
        </p:nvSpPr>
        <p:spPr>
          <a:xfrm>
            <a:off x="838200" y="1306320"/>
            <a:ext cx="10360430" cy="24165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628650" lvl="1" indent="-4572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ea typeface="Calibri"/>
                <a:cs typeface="Calibri"/>
                <a:hlinkClick r:id="rId4"/>
              </a:rPr>
              <a:t>NCFS Fixed Assets</a:t>
            </a:r>
            <a:r>
              <a:rPr lang="en-US" sz="2800" dirty="0">
                <a:ea typeface="Calibri"/>
                <a:cs typeface="Calibri"/>
              </a:rPr>
              <a:t> Session – April 1</a:t>
            </a:r>
            <a:r>
              <a:rPr lang="en-US" sz="2800" baseline="30000" dirty="0">
                <a:ea typeface="Calibri"/>
                <a:cs typeface="Calibri"/>
              </a:rPr>
              <a:t>st</a:t>
            </a:r>
            <a:r>
              <a:rPr lang="en-US" sz="2800" dirty="0">
                <a:ea typeface="Calibri"/>
                <a:cs typeface="Calibri"/>
              </a:rPr>
              <a:t>, 2:00 pm - 4:00 pm</a:t>
            </a:r>
            <a:endParaRPr lang="en-US" sz="2650" dirty="0"/>
          </a:p>
          <a:p>
            <a:pPr marL="628650" lvl="1" indent="-457200">
              <a:lnSpc>
                <a:spcPct val="114000"/>
              </a:lnSpc>
              <a:buFont typeface="Arial"/>
              <a:buChar char="•"/>
            </a:pPr>
            <a:r>
              <a:rPr lang="en-US" sz="2650" dirty="0"/>
              <a:t>NCFS Newsletter – April</a:t>
            </a:r>
          </a:p>
          <a:p>
            <a:pPr marL="628650" lvl="1" indent="-457200">
              <a:lnSpc>
                <a:spcPct val="114000"/>
              </a:lnSpc>
              <a:buFont typeface="Arial"/>
              <a:buChar char="•"/>
            </a:pPr>
            <a:r>
              <a:rPr lang="en-US" sz="2650" dirty="0"/>
              <a:t>NCFS Touchpoints – April/May</a:t>
            </a:r>
            <a:endParaRPr lang="en-US" sz="2650" dirty="0">
              <a:ea typeface="Calibri"/>
              <a:cs typeface="Calibri"/>
            </a:endParaRPr>
          </a:p>
          <a:p>
            <a:pPr marL="628650" lvl="1" indent="-457200">
              <a:lnSpc>
                <a:spcPct val="114000"/>
              </a:lnSpc>
              <a:buFont typeface="Arial"/>
              <a:buChar char="•"/>
            </a:pPr>
            <a:r>
              <a:rPr lang="en-US" sz="2650" dirty="0">
                <a:hlinkClick r:id="rId5"/>
              </a:rPr>
              <a:t>NCFS Insights</a:t>
            </a:r>
            <a:r>
              <a:rPr lang="en-US" sz="2650" dirty="0"/>
              <a:t> Session - May 6</a:t>
            </a:r>
            <a:r>
              <a:rPr lang="en-US" sz="2650" baseline="30000" dirty="0"/>
              <a:t>th</a:t>
            </a:r>
            <a:r>
              <a:rPr lang="en-US" sz="2650" dirty="0"/>
              <a:t>, 1:00 pm - 2:00 pm </a:t>
            </a:r>
          </a:p>
          <a:p>
            <a:pPr marL="628650" lvl="1" indent="-457200">
              <a:lnSpc>
                <a:spcPct val="114000"/>
              </a:lnSpc>
              <a:buFont typeface="Arial"/>
              <a:buChar char="•"/>
            </a:pPr>
            <a:r>
              <a:rPr lang="en-US" sz="2650" dirty="0">
                <a:ea typeface="Calibri"/>
                <a:cs typeface="Calibri"/>
              </a:rPr>
              <a:t>ACFR Planning Conferences - May</a:t>
            </a:r>
            <a:endParaRPr lang="en-US" sz="26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F6867C-7B1C-FAA1-162C-938205F04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18533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C0E61-8BAC-2A5A-C8C6-75A0D0321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8984D-9E09-1C52-F743-3B26AA213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1F65FA-1861-16F0-4103-54324B032C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5937" y="1686790"/>
            <a:ext cx="2153980" cy="27362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3F0A91-2B89-FF81-6E67-4240BC1CF794}"/>
              </a:ext>
            </a:extLst>
          </p:cNvPr>
          <p:cNvSpPr txBox="1"/>
          <p:nvPr/>
        </p:nvSpPr>
        <p:spPr>
          <a:xfrm>
            <a:off x="915785" y="4637772"/>
            <a:ext cx="10360430" cy="1252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650" dirty="0">
                <a:hlinkClick r:id="rId5"/>
              </a:rPr>
              <a:t>Give us your feedback!</a:t>
            </a:r>
            <a:endParaRPr lang="en-US" sz="2650" dirty="0"/>
          </a:p>
          <a:p>
            <a:pPr algn="ctr">
              <a:lnSpc>
                <a:spcPct val="150000"/>
              </a:lnSpc>
            </a:pPr>
            <a:r>
              <a:rPr lang="en-US" sz="2650" dirty="0"/>
              <a:t>Contact us: </a:t>
            </a:r>
            <a:r>
              <a:rPr lang="en-US" sz="2650" dirty="0">
                <a:hlinkClick r:id="rId6"/>
              </a:rPr>
              <a:t>ncfs@ncosc.gov</a:t>
            </a:r>
            <a:endParaRPr lang="en-US" sz="26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72AB2-1A14-3DB0-318D-3BFE33DAC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34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5516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9513DD-0F7D-401E-B1A9-46CF6058B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NCFS Insights - Presente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8A275E-933A-4220-871D-088652DB62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8" name="Group 7" descr="Lena Andrade, NCFS Engagement Lead">
            <a:extLst>
              <a:ext uri="{FF2B5EF4-FFF2-40B4-BE49-F238E27FC236}">
                <a16:creationId xmlns:a16="http://schemas.microsoft.com/office/drawing/2014/main" id="{64B2A82E-D3F6-5368-1059-24065B61E5B2}"/>
              </a:ext>
            </a:extLst>
          </p:cNvPr>
          <p:cNvGrpSpPr/>
          <p:nvPr/>
        </p:nvGrpSpPr>
        <p:grpSpPr>
          <a:xfrm>
            <a:off x="970013" y="1316213"/>
            <a:ext cx="4495480" cy="1272957"/>
            <a:chOff x="646477" y="194866"/>
            <a:chExt cx="5192364" cy="163815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FF5F831-97BC-C031-B3F4-5830607DB59B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A717DAC1-62D0-AA3C-90D5-5451E3B89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E8AF4A42-1963-0A49-F76F-C105EBEC555A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4F014A1-3EA9-EEF0-A45D-B043830384D3}"/>
                </a:ext>
              </a:extLst>
            </p:cNvPr>
            <p:cNvSpPr txBox="1"/>
            <p:nvPr/>
          </p:nvSpPr>
          <p:spPr>
            <a:xfrm>
              <a:off x="2092907" y="557205"/>
              <a:ext cx="3033051" cy="91097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Lena Andrade</a:t>
              </a:r>
              <a:endParaRPr lang="en-US" sz="2000" dirty="0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</a:rPr>
                <a:t>NCFS Engagement Lead</a:t>
              </a:r>
              <a:endParaRPr lang="en-US" sz="2000" dirty="0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3F8AF43-4150-3BE7-8AF5-23F034985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" r="1492"/>
          <a:stretch/>
        </p:blipFill>
        <p:spPr>
          <a:xfrm>
            <a:off x="979405" y="1332606"/>
            <a:ext cx="1211772" cy="1250337"/>
          </a:xfrm>
          <a:prstGeom prst="flowChartConnector">
            <a:avLst/>
          </a:prstGeom>
        </p:spPr>
      </p:pic>
      <p:grpSp>
        <p:nvGrpSpPr>
          <p:cNvPr id="45" name="Group 44" descr="Taylor Brumbeloe, Deputy State Controller">
            <a:extLst>
              <a:ext uri="{FF2B5EF4-FFF2-40B4-BE49-F238E27FC236}">
                <a16:creationId xmlns:a16="http://schemas.microsoft.com/office/drawing/2014/main" id="{024DC003-41C0-3F3D-DC74-6648DCB521F4}"/>
              </a:ext>
            </a:extLst>
          </p:cNvPr>
          <p:cNvGrpSpPr/>
          <p:nvPr/>
        </p:nvGrpSpPr>
        <p:grpSpPr>
          <a:xfrm>
            <a:off x="6524499" y="1318394"/>
            <a:ext cx="4495480" cy="1272957"/>
            <a:chOff x="646477" y="194866"/>
            <a:chExt cx="5192364" cy="1638153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E7CCA6E-0F45-95FC-9857-6A644860CB63}"/>
                </a:ext>
              </a:extLst>
            </p:cNvPr>
            <p:cNvGrpSpPr/>
            <p:nvPr/>
          </p:nvGrpSpPr>
          <p:grpSpPr>
            <a:xfrm>
              <a:off x="646477" y="194866"/>
              <a:ext cx="5192364" cy="1638153"/>
              <a:chOff x="1550321" y="1742356"/>
              <a:chExt cx="5192364" cy="1638153"/>
            </a:xfrm>
          </p:grpSpPr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5EF0BD8E-17D6-1155-3CEF-E9A64DC9CB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1" cy="1638153"/>
              </a:xfrm>
              <a:prstGeom prst="rect">
                <a:avLst/>
              </a:prstGeom>
            </p:spPr>
          </p:pic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78943B18-60BB-2C4E-6746-268200A2822D}"/>
                  </a:ext>
                </a:extLst>
              </p:cNvPr>
              <p:cNvSpPr/>
              <p:nvPr/>
            </p:nvSpPr>
            <p:spPr>
              <a:xfrm>
                <a:off x="1568418" y="1755659"/>
                <a:ext cx="5174267" cy="160904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03A1D6A-5B43-E90C-978B-310F7C2FBC00}"/>
                </a:ext>
              </a:extLst>
            </p:cNvPr>
            <p:cNvSpPr txBox="1"/>
            <p:nvPr/>
          </p:nvSpPr>
          <p:spPr>
            <a:xfrm>
              <a:off x="2211437" y="561098"/>
              <a:ext cx="3047567" cy="91097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Taylor Brumbeloe</a:t>
              </a:r>
              <a:endParaRPr lang="en-US" sz="2000" dirty="0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</a:rPr>
                <a:t>Deputy State Controller</a:t>
              </a:r>
              <a:endParaRPr lang="en-US" sz="2000" dirty="0">
                <a:solidFill>
                  <a:schemeClr val="accent5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FA467CAB-FAEE-6F08-2279-DC5C8799C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" r="3337"/>
          <a:stretch/>
        </p:blipFill>
        <p:spPr>
          <a:xfrm>
            <a:off x="6533891" y="1334787"/>
            <a:ext cx="1211772" cy="1250337"/>
          </a:xfrm>
          <a:prstGeom prst="flowChartConnector">
            <a:avLst/>
          </a:prstGeom>
        </p:spPr>
      </p:pic>
      <p:grpSp>
        <p:nvGrpSpPr>
          <p:cNvPr id="9" name="Group 8" descr="Jessica Wilkins, Data Maintenance Manager">
            <a:extLst>
              <a:ext uri="{FF2B5EF4-FFF2-40B4-BE49-F238E27FC236}">
                <a16:creationId xmlns:a16="http://schemas.microsoft.com/office/drawing/2014/main" id="{3E214E01-F13D-15CA-C19C-E53F99B49995}"/>
              </a:ext>
            </a:extLst>
          </p:cNvPr>
          <p:cNvGrpSpPr/>
          <p:nvPr/>
        </p:nvGrpSpPr>
        <p:grpSpPr>
          <a:xfrm>
            <a:off x="979405" y="2946031"/>
            <a:ext cx="4556674" cy="1247663"/>
            <a:chOff x="1550321" y="1742356"/>
            <a:chExt cx="4775646" cy="164433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4907ABB-9812-8A82-BCEC-6E26D07E3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4F8A92-24B8-CCD3-A62A-EB3B9B1D0BDC}"/>
                </a:ext>
              </a:extLst>
            </p:cNvPr>
            <p:cNvGrpSpPr/>
            <p:nvPr/>
          </p:nvGrpSpPr>
          <p:grpSpPr>
            <a:xfrm>
              <a:off x="1592230" y="1753833"/>
              <a:ext cx="4733737" cy="1632856"/>
              <a:chOff x="2042233" y="4132831"/>
              <a:chExt cx="4733737" cy="1632856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A0C4082F-7FA5-4255-054A-A2C18CEC0026}"/>
                  </a:ext>
                </a:extLst>
              </p:cNvPr>
              <p:cNvSpPr/>
              <p:nvPr/>
            </p:nvSpPr>
            <p:spPr>
              <a:xfrm>
                <a:off x="2042233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EB1F3DE-5BB7-312F-4C3D-A7C5CACE8FF7}"/>
                  </a:ext>
                </a:extLst>
              </p:cNvPr>
              <p:cNvSpPr txBox="1"/>
              <p:nvPr/>
            </p:nvSpPr>
            <p:spPr>
              <a:xfrm>
                <a:off x="3302961" y="4473959"/>
                <a:ext cx="3247912" cy="93294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rtlCol="0" anchor="t">
                <a:spAutoFit/>
              </a:bodyPr>
              <a:lstStyle/>
              <a:p>
                <a:r>
                  <a:rPr lang="en-US" sz="2000" dirty="0">
                    <a:solidFill>
                      <a:schemeClr val="accent5">
                        <a:lumMod val="50000"/>
                      </a:schemeClr>
                    </a:solidFill>
                  </a:rPr>
                  <a:t>Jessica Wilkins</a:t>
                </a:r>
              </a:p>
              <a:p>
                <a:r>
                  <a:rPr lang="en-US" sz="2000" dirty="0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Data Maintenance Manager</a:t>
                </a:r>
              </a:p>
            </p:txBody>
          </p:sp>
        </p:grp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6E61495D-7D15-7789-0087-88D8025EE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24" y="2966909"/>
            <a:ext cx="1228722" cy="1238956"/>
          </a:xfrm>
          <a:prstGeom prst="flowChartConnector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4585379-D56B-C238-3F26-9C57A87E0A98}"/>
              </a:ext>
            </a:extLst>
          </p:cNvPr>
          <p:cNvGrpSpPr/>
          <p:nvPr/>
        </p:nvGrpSpPr>
        <p:grpSpPr>
          <a:xfrm>
            <a:off x="6516032" y="2912211"/>
            <a:ext cx="4565336" cy="1245315"/>
            <a:chOff x="646477" y="194866"/>
            <a:chExt cx="5178237" cy="1638153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8D95909-92F3-A74D-C323-2F033670536F}"/>
                </a:ext>
              </a:extLst>
            </p:cNvPr>
            <p:cNvGrpSpPr/>
            <p:nvPr/>
          </p:nvGrpSpPr>
          <p:grpSpPr>
            <a:xfrm>
              <a:off x="646477" y="194866"/>
              <a:ext cx="5178237" cy="1638153"/>
              <a:chOff x="1550321" y="1742356"/>
              <a:chExt cx="5178237" cy="1638153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8F1D0990-92FC-8F57-DE36-B46FC5BB9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50321" y="1742356"/>
                <a:ext cx="832660" cy="1638153"/>
              </a:xfrm>
              <a:prstGeom prst="rect">
                <a:avLst/>
              </a:prstGeom>
            </p:spPr>
          </p:pic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959D5BE-CFC4-3D46-FE23-B7F75EDD2FCD}"/>
                  </a:ext>
                </a:extLst>
              </p:cNvPr>
              <p:cNvSpPr/>
              <p:nvPr/>
            </p:nvSpPr>
            <p:spPr>
              <a:xfrm>
                <a:off x="1554291" y="1745454"/>
                <a:ext cx="5174267" cy="160904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6C3FFB1-FD3F-8B5B-A8E3-B4784FE4EBF1}"/>
                </a:ext>
              </a:extLst>
            </p:cNvPr>
            <p:cNvSpPr txBox="1"/>
            <p:nvPr/>
          </p:nvSpPr>
          <p:spPr>
            <a:xfrm>
              <a:off x="2209262" y="548347"/>
              <a:ext cx="3185428" cy="931191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  <a:cs typeface="Calibri"/>
                </a:rPr>
                <a:t>Priscilla Roberts</a:t>
              </a:r>
            </a:p>
            <a:p>
              <a:r>
                <a:rPr lang="en-US" sz="2000" dirty="0">
                  <a:solidFill>
                    <a:schemeClr val="accent5">
                      <a:lumMod val="50000"/>
                    </a:schemeClr>
                  </a:solidFill>
                  <a:ea typeface="Calibri"/>
                  <a:cs typeface="Calibri"/>
                </a:rPr>
                <a:t>Business Systems Analyst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DB226C27-B5F5-A12C-3459-60FAA7541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3955" y="2896990"/>
            <a:ext cx="1345466" cy="1277470"/>
          </a:xfrm>
          <a:prstGeom prst="flowChartConnector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8DAB8AD6-E702-1218-3B1A-6AEE780D2F77}"/>
              </a:ext>
            </a:extLst>
          </p:cNvPr>
          <p:cNvGrpSpPr/>
          <p:nvPr/>
        </p:nvGrpSpPr>
        <p:grpSpPr>
          <a:xfrm>
            <a:off x="979406" y="4529674"/>
            <a:ext cx="4556673" cy="1247663"/>
            <a:chOff x="1550321" y="1742356"/>
            <a:chExt cx="4775645" cy="1644333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8AB55C-8E63-3054-0464-F8291B219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50321" y="1742356"/>
              <a:ext cx="832661" cy="1638153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7619F5D-FF6E-F4A4-A9F5-CEBD93D44FF7}"/>
                </a:ext>
              </a:extLst>
            </p:cNvPr>
            <p:cNvGrpSpPr/>
            <p:nvPr/>
          </p:nvGrpSpPr>
          <p:grpSpPr>
            <a:xfrm>
              <a:off x="1592229" y="1753833"/>
              <a:ext cx="4733737" cy="1632856"/>
              <a:chOff x="2042232" y="4132831"/>
              <a:chExt cx="4733737" cy="1632856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7B2D8F70-4249-926B-D495-CC6205E95A87}"/>
                  </a:ext>
                </a:extLst>
              </p:cNvPr>
              <p:cNvSpPr/>
              <p:nvPr/>
            </p:nvSpPr>
            <p:spPr>
              <a:xfrm>
                <a:off x="2042232" y="4132831"/>
                <a:ext cx="4733737" cy="16328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29" name="Picture 8">
                <a:extLst>
                  <a:ext uri="{FF2B5EF4-FFF2-40B4-BE49-F238E27FC236}">
                    <a16:creationId xmlns:a16="http://schemas.microsoft.com/office/drawing/2014/main" id="{20377980-442D-33E5-C6A4-02700837A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20000" contras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62" b="1062"/>
              <a:stretch/>
            </p:blipFill>
            <p:spPr>
              <a:xfrm>
                <a:off x="2042233" y="4169388"/>
                <a:ext cx="1263002" cy="1554481"/>
              </a:xfrm>
              <a:prstGeom prst="ellipse">
                <a:avLst/>
              </a:prstGeom>
              <a:ln w="38100">
                <a:solidFill>
                  <a:schemeClr val="accent5">
                    <a:lumMod val="50000"/>
                  </a:schemeClr>
                </a:solidFill>
              </a:ln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C6BC6B2-81D1-4CCD-ED26-340AB3754459}"/>
                  </a:ext>
                </a:extLst>
              </p:cNvPr>
              <p:cNvSpPr txBox="1"/>
              <p:nvPr/>
            </p:nvSpPr>
            <p:spPr>
              <a:xfrm>
                <a:off x="3368320" y="4473959"/>
                <a:ext cx="3117191" cy="93294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 sz="2000" dirty="0">
                    <a:solidFill>
                      <a:schemeClr val="accent5">
                        <a:lumMod val="50000"/>
                      </a:schemeClr>
                    </a:solidFill>
                  </a:rPr>
                  <a:t>Laura Lee</a:t>
                </a:r>
              </a:p>
              <a:p>
                <a:r>
                  <a:rPr lang="en-US" sz="2000" dirty="0">
                    <a:solidFill>
                      <a:schemeClr val="accent5">
                        <a:lumMod val="50000"/>
                      </a:schemeClr>
                    </a:solidFill>
                    <a:ea typeface="Calibri"/>
                    <a:cs typeface="Calibri"/>
                  </a:rPr>
                  <a:t>OSC Training Manager</a:t>
                </a:r>
                <a:endParaRPr lang="en-US" sz="2000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79173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A47DA-943A-DE76-15A3-217C674DDA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60E826-BDAA-1386-CB43-CFF481C3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13" y="380016"/>
            <a:ext cx="10901752" cy="634219"/>
          </a:xfrm>
        </p:spPr>
        <p:txBody>
          <a:bodyPr/>
          <a:lstStyle/>
          <a:p>
            <a:r>
              <a:rPr lang="en-US"/>
              <a:t>Icebreak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264CC4-A00E-37F9-B3C3-1E830000B820}"/>
              </a:ext>
            </a:extLst>
          </p:cNvPr>
          <p:cNvSpPr txBox="1"/>
          <p:nvPr/>
        </p:nvSpPr>
        <p:spPr>
          <a:xfrm>
            <a:off x="970013" y="1433929"/>
            <a:ext cx="6094476" cy="1315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olling Question:</a:t>
            </a:r>
            <a:br>
              <a:rPr kumimoji="0" lang="en-US" sz="2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</a:b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 </a:t>
            </a:r>
            <a:endParaRPr kumimoji="0" lang="en-US" sz="2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Which module of NCFS do you use most?</a:t>
            </a:r>
            <a:endParaRPr kumimoji="0" lang="en-US" sz="2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7BA158-C8A6-3B3A-30D7-1F51331A4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7864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097964-B498-FA9D-CFFC-8212B3A0F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3CDFE-0809-9232-22D7-772945D50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675" y="397812"/>
            <a:ext cx="10969101" cy="634219"/>
          </a:xfrm>
        </p:spPr>
        <p:txBody>
          <a:bodyPr/>
          <a:lstStyle/>
          <a:p>
            <a:r>
              <a:rPr lang="en-US">
                <a:solidFill>
                  <a:schemeClr val="accent5">
                    <a:lumMod val="50000"/>
                  </a:schemeClr>
                </a:solidFill>
                <a:cs typeface="Calibri"/>
              </a:rPr>
              <a:t>EPa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7F7513-2616-6737-E19D-D191886739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782" y="132791"/>
            <a:ext cx="2007158" cy="8739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42F9DE3-2F82-F4E2-765A-93E92B2333AE}"/>
              </a:ext>
            </a:extLst>
          </p:cNvPr>
          <p:cNvSpPr txBox="1"/>
          <p:nvPr/>
        </p:nvSpPr>
        <p:spPr>
          <a:xfrm>
            <a:off x="3456769" y="4301943"/>
            <a:ext cx="4991121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Jessica Wilki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70C0">
                    <a:lumMod val="50000"/>
                  </a:srgbClr>
                </a:solidFill>
                <a:latin typeface="Calibri" panose="020F0502020204030204"/>
                <a:cs typeface="Calibri"/>
              </a:rPr>
              <a:t>Data Maintenance Manag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28975E3-5DCC-BA25-0C69-D2B43832D647}"/>
              </a:ext>
            </a:extLst>
          </p:cNvPr>
          <p:cNvSpPr txBox="1"/>
          <p:nvPr/>
        </p:nvSpPr>
        <p:spPr>
          <a:xfrm>
            <a:off x="2532081" y="5225273"/>
            <a:ext cx="6993082" cy="13323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orth Carolina Financial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NC Office of the State Controller - OS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AB3538-2773-8071-696C-E89011C152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864445" y="5035225"/>
            <a:ext cx="876692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F95CA74-278F-9FC8-CDB1-BF82CB282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9873" y="5841206"/>
            <a:ext cx="1943100" cy="8477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41FDBD-8FE6-C87C-C8ED-C0DDB1AA5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622" y="1817612"/>
            <a:ext cx="2225414" cy="229428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F5DE5-B7FB-B9DA-7AF3-69855C8441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5155C8-06EF-4D76-B723-5863044CF28B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7359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58CF16-6292-25BD-2282-BB3A5B2FC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745C3-D83C-D1FD-1287-71522985B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Review of the ePay Process 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8C6A52D-C55C-829E-1BFD-4F1A0200FBB4}"/>
              </a:ext>
            </a:extLst>
          </p:cNvPr>
          <p:cNvSpPr txBox="1">
            <a:spLocks/>
          </p:cNvSpPr>
          <p:nvPr/>
        </p:nvSpPr>
        <p:spPr>
          <a:xfrm>
            <a:off x="838200" y="1120878"/>
            <a:ext cx="10809303" cy="5544618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Supplier should complete the Supplier Electronic Payment Request form.</a:t>
            </a:r>
          </a:p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Email completed form and a voided check, bank statement, or bank authorization letter (on bank letterhead, signed by bank representative) to </a:t>
            </a:r>
            <a:r>
              <a:rPr lang="en-US" sz="2000" dirty="0">
                <a:hlinkClick r:id="rId4"/>
              </a:rPr>
              <a:t>ncfsepay@ncosc.gov</a:t>
            </a:r>
            <a:r>
              <a:rPr lang="en-US" sz="2000" dirty="0"/>
              <a:t>. If Agency receives request, review for completeness before sending to OSC.</a:t>
            </a:r>
          </a:p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f Supplier Electronic Payment Request form has been approved by the DM Team – supplier will receive a Security Verification Form to complete.</a:t>
            </a:r>
          </a:p>
          <a:p>
            <a:pPr lvl="1">
              <a:lnSpc>
                <a:spcPct val="114000"/>
              </a:lnSpc>
              <a:buClr>
                <a:schemeClr val="tx1"/>
              </a:buClr>
            </a:pPr>
            <a:r>
              <a:rPr lang="en-US" sz="2000" dirty="0"/>
              <a:t>Agencies can assist the supplier if needed.</a:t>
            </a:r>
          </a:p>
          <a:p>
            <a:pPr lvl="1">
              <a:lnSpc>
                <a:spcPct val="114000"/>
              </a:lnSpc>
              <a:buClr>
                <a:schemeClr val="tx1"/>
              </a:buClr>
            </a:pPr>
            <a:r>
              <a:rPr lang="en-US" sz="2000" dirty="0"/>
              <a:t>Data Maintenance team will review completed questions based on information in NCFS.</a:t>
            </a:r>
          </a:p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f Supplier Electronic Payment Request form is incomplete or incorrect, DM Team will reject and notify the supplier</a:t>
            </a:r>
          </a:p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f </a:t>
            </a:r>
            <a:r>
              <a:rPr lang="en-US" sz="2000" dirty="0" err="1"/>
              <a:t>ePay</a:t>
            </a:r>
            <a:r>
              <a:rPr lang="en-US" sz="2000" dirty="0"/>
              <a:t> is on file for another site or agency, </a:t>
            </a:r>
            <a:r>
              <a:rPr lang="en-US" sz="2000" dirty="0" err="1"/>
              <a:t>ePay</a:t>
            </a:r>
            <a:r>
              <a:rPr lang="en-US" sz="2000" dirty="0"/>
              <a:t> details are added to new site upon request via NCFS ticket.</a:t>
            </a:r>
          </a:p>
          <a:p>
            <a:pPr>
              <a:lnSpc>
                <a:spcPct val="114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Data Maintenance team will email the supplier (and copy the agency contact if available) once </a:t>
            </a:r>
            <a:r>
              <a:rPr lang="en-US" sz="2000" dirty="0" err="1"/>
              <a:t>ePay</a:t>
            </a:r>
            <a:r>
              <a:rPr lang="en-US" sz="2000" dirty="0"/>
              <a:t> setup has been completed.</a:t>
            </a:r>
            <a:endParaRPr lang="en-US" sz="2650" dirty="0">
              <a:ea typeface="Calibri"/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E17FD3-569D-C8AD-F803-287BBB50D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7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8705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A513D-351F-0048-FB30-91A3E8990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66F6D-96F9-1F4C-5C3A-BD4DB6F25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/>
              <a:t>Updates to the Security Verification Form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6FDF9E2-E652-1E09-E2BC-773B65991C9C}"/>
              </a:ext>
            </a:extLst>
          </p:cNvPr>
          <p:cNvSpPr txBox="1">
            <a:spLocks/>
          </p:cNvSpPr>
          <p:nvPr/>
        </p:nvSpPr>
        <p:spPr>
          <a:xfrm>
            <a:off x="838201" y="1253330"/>
            <a:ext cx="4266459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For Supplier, Agency, and OSC protection, this form is used to reduce potential fraud for payments.</a:t>
            </a:r>
          </a:p>
          <a:p>
            <a:pPr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Link to form is sent to Supplier only after the </a:t>
            </a:r>
            <a:r>
              <a:rPr lang="en-US" sz="2400" dirty="0" err="1"/>
              <a:t>ePay</a:t>
            </a:r>
            <a:r>
              <a:rPr lang="en-US" sz="2400" dirty="0"/>
              <a:t> Request form and supporting bank documentation have been approved.</a:t>
            </a:r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8" name="Picture 7" descr="Supplier verification online form with required questions, such as business name and Tax ID, EIN, or SSN.">
            <a:extLst>
              <a:ext uri="{FF2B5EF4-FFF2-40B4-BE49-F238E27FC236}">
                <a16:creationId xmlns:a16="http://schemas.microsoft.com/office/drawing/2014/main" id="{B97443CD-70DA-FF90-458A-9AE387B7BA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660" y="1253330"/>
            <a:ext cx="6799710" cy="533470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8F8A9E-BE53-D60D-007F-60E644609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9718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9A96E0-0509-8987-3B9B-3E0B9ED2D1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FF1A5-C084-6737-BC33-2FE359EC6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571"/>
            <a:ext cx="9528925" cy="634219"/>
          </a:xfrm>
        </p:spPr>
        <p:txBody>
          <a:bodyPr/>
          <a:lstStyle/>
          <a:p>
            <a:r>
              <a:rPr lang="en-US" sz="3600"/>
              <a:t>Updates to ePay Inactivation Request Process</a:t>
            </a:r>
            <a:endParaRPr lang="en-US" sz="3600">
              <a:highlight>
                <a:srgbClr val="FFFF00"/>
              </a:highlight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9596446-6276-1AC2-9FB3-7348C941539B}"/>
              </a:ext>
            </a:extLst>
          </p:cNvPr>
          <p:cNvSpPr txBox="1">
            <a:spLocks/>
          </p:cNvSpPr>
          <p:nvPr/>
        </p:nvSpPr>
        <p:spPr>
          <a:xfrm>
            <a:off x="838200" y="1253330"/>
            <a:ext cx="10974323" cy="54121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22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32B7C"/>
              </a:buClr>
              <a:buFont typeface="Calibri" panose="020F0502020204030204" pitchFamily="34" charset="0"/>
              <a:buChar char="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800" dirty="0"/>
              <a:t>Suppliers should now email their </a:t>
            </a:r>
            <a:r>
              <a:rPr lang="en-US" sz="2800" dirty="0" err="1"/>
              <a:t>ePay</a:t>
            </a:r>
            <a:r>
              <a:rPr lang="en-US" sz="2800" dirty="0"/>
              <a:t> inactivation request to the </a:t>
            </a:r>
            <a:r>
              <a:rPr lang="en-US" sz="2800" dirty="0">
                <a:hlinkClick r:id="rId4"/>
              </a:rPr>
              <a:t>ncfs@ncosc.gov</a:t>
            </a:r>
            <a:r>
              <a:rPr lang="en-US" sz="2800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ea typeface="+mn-lt"/>
                <a:cs typeface="+mn-lt"/>
              </a:rPr>
              <a:t>Include the following information:</a:t>
            </a:r>
          </a:p>
          <a:p>
            <a:pPr lvl="1">
              <a:buClrTx/>
            </a:pPr>
            <a:r>
              <a:rPr lang="en-US" dirty="0">
                <a:ea typeface="+mn-lt"/>
                <a:cs typeface="+mn-lt"/>
              </a:rPr>
              <a:t>Supplier’s name</a:t>
            </a:r>
          </a:p>
          <a:p>
            <a:pPr lvl="1">
              <a:buClrTx/>
            </a:pPr>
            <a:r>
              <a:rPr lang="en-US" dirty="0">
                <a:ea typeface="+mn-lt"/>
                <a:cs typeface="+mn-lt"/>
              </a:rPr>
              <a:t>TAX ID/EIN number</a:t>
            </a:r>
          </a:p>
          <a:p>
            <a:pPr lvl="1">
              <a:buClrTx/>
            </a:pPr>
            <a:r>
              <a:rPr lang="en-US" dirty="0">
                <a:ea typeface="+mn-lt"/>
                <a:cs typeface="+mn-lt"/>
              </a:rPr>
              <a:t>Site you are requesting be inactivat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ea typeface="+mn-lt"/>
                <a:cs typeface="+mn-lt"/>
              </a:rPr>
              <a:t>Once your request has been completed, you will receive a response to with your Incident number from </a:t>
            </a:r>
            <a:r>
              <a:rPr lang="en-US" sz="2800" dirty="0">
                <a:ea typeface="+mn-lt"/>
                <a:cs typeface="+mn-lt"/>
                <a:hlinkClick r:id="rId4"/>
              </a:rPr>
              <a:t>ncfs@ncosc.gov</a:t>
            </a:r>
            <a:r>
              <a:rPr lang="en-US" sz="2800" dirty="0">
                <a:ea typeface="+mn-lt"/>
                <a:cs typeface="+mn-lt"/>
              </a:rPr>
              <a:t>.</a:t>
            </a:r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B617DF-CD3F-2C3B-889C-6F87C6EC08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5155C8-06EF-4D76-B723-5863044CF28B}" type="slidenum">
              <a:rPr lang="en-US" smtClean="0"/>
              <a:pPr/>
              <a:t>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2696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1_OFFICE THEME" val="YgbHiyfb"/>
  <p:tag name="ARTICULATE_DESIGN_ID_CUSTOM DESIGN" val="JpQeeYKx"/>
  <p:tag name="ARTICULATE_DESIGN_ID_3_OFFICE THEME" val="caZQBoOk"/>
  <p:tag name="ARTICULATE_SLIDE_COUNT" val="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D49D150-7792-402F-921A-D4112A88735A}" vid="{8C3F12D2-67B9-4719-87CF-9AA30E2EF7F4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 Portal Naming Contest" id="{D63A938A-2CC1-4E51-8013-979E14F54E34}" vid="{19FDFDBE-DD94-41AF-8999-FAF6340CB8EA}"/>
    </a:ext>
  </a:extLst>
</a:theme>
</file>

<file path=ppt/theme/theme3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328B"/>
      </a:accent1>
      <a:accent2>
        <a:srgbClr val="972200"/>
      </a:accent2>
      <a:accent3>
        <a:srgbClr val="449E46"/>
      </a:accent3>
      <a:accent4>
        <a:srgbClr val="FAD803"/>
      </a:accent4>
      <a:accent5>
        <a:srgbClr val="0070C0"/>
      </a:accent5>
      <a:accent6>
        <a:srgbClr val="98CB3A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FS_Template_FINAL" id="{711A3E18-2229-4062-B693-93773C9F3570}" vid="{D04656D6-CC52-4751-B34D-F0BE9F61827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FA4F08ADB9124B980220F50EFDEE06" ma:contentTypeVersion="27" ma:contentTypeDescription="Create a new document." ma:contentTypeScope="" ma:versionID="312475e90a7f94b5e64e0616706f1995">
  <xsd:schema xmlns:xsd="http://www.w3.org/2001/XMLSchema" xmlns:xs="http://www.w3.org/2001/XMLSchema" xmlns:p="http://schemas.microsoft.com/office/2006/metadata/properties" xmlns:ns2="7db17633-6ab9-4c77-a901-7160f9eb8959" xmlns:ns3="563f23cf-f5d7-460c-8da3-480e214b7c18" targetNamespace="http://schemas.microsoft.com/office/2006/metadata/properties" ma:root="true" ma:fieldsID="51a4ff1b16b144ae324963cd53e3c0b8" ns2:_="" ns3:_="">
    <xsd:import namespace="7db17633-6ab9-4c77-a901-7160f9eb8959"/>
    <xsd:import namespace="563f23cf-f5d7-460c-8da3-480e214b7c18"/>
    <xsd:element name="properties">
      <xsd:complexType>
        <xsd:sequence>
          <xsd:element name="documentManagement">
            <xsd:complexType>
              <xsd:all>
                <xsd:element ref="ns2:SpecStatus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_ip_UnifiedCompliancePolicyProperties" minOccurs="0"/>
                <xsd:element ref="ns3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17633-6ab9-4c77-a901-7160f9eb8959" elementFormDefault="qualified">
    <xsd:import namespace="http://schemas.microsoft.com/office/2006/documentManagement/types"/>
    <xsd:import namespace="http://schemas.microsoft.com/office/infopath/2007/PartnerControls"/>
    <xsd:element name="SpecStatus" ma:index="6" nillable="true" ma:displayName="Spec Status" ma:description="Spec Status" ma:format="Dropdown" ma:internalName="SpecStatus" ma:readOnly="false">
      <xsd:simpleType>
        <xsd:restriction base="dms:Choice">
          <xsd:enumeration value="Func Spec"/>
          <xsd:enumeration value="Tech Spec"/>
          <xsd:enumeration value="Build"/>
          <xsd:enumeration value="Accepted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73cfa9a-e889-43e5-9e7e-099e1654cb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f23cf-f5d7-460c-8da3-480e214b7c18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e74514b-3e93-461d-971a-765a50073c67}" ma:internalName="TaxCatchAll" ma:showField="CatchAllData" ma:web="563f23cf-f5d7-460c-8da3-480e214b7c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ip_UnifiedCompliancePolicyProperties" ma:index="24" nillable="true" ma:displayName="Unified Compliance Policy Properties" ma:internalName="_ip_UnifiedCompliancePolicyProperties" ma:readOnly="false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563f23cf-f5d7-460c-8da3-480e214b7c18" xsi:nil="true"/>
    <_ip_UnifiedCompliancePolicyProperties xmlns="563f23cf-f5d7-460c-8da3-480e214b7c18" xsi:nil="true"/>
    <SpecStatus xmlns="7db17633-6ab9-4c77-a901-7160f9eb8959" xsi:nil="true"/>
    <lcf76f155ced4ddcb4097134ff3c332f xmlns="7db17633-6ab9-4c77-a901-7160f9eb8959">
      <Terms xmlns="http://schemas.microsoft.com/office/infopath/2007/PartnerControls"/>
    </lcf76f155ced4ddcb4097134ff3c332f>
    <TaxCatchAll xmlns="563f23cf-f5d7-460c-8da3-480e214b7c18" xsi:nil="true"/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D1CE7F15-6DE0-4E85-96D3-36EB5EB1B7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CC9DEC-A099-46BC-BD37-EA11DEEA6BB2}">
  <ds:schemaRefs>
    <ds:schemaRef ds:uri="563f23cf-f5d7-460c-8da3-480e214b7c18"/>
    <ds:schemaRef ds:uri="7db17633-6ab9-4c77-a901-7160f9eb89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0A58BFD-D85A-4ADE-B62F-A3F5667216B0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563f23cf-f5d7-460c-8da3-480e214b7c18"/>
    <ds:schemaRef ds:uri="7db17633-6ab9-4c77-a901-7160f9eb8959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5E2A67D-AE2D-4ACD-B962-2FC7CE15A82A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CFS_Template_FINAL</Template>
  <TotalTime>244</TotalTime>
  <Words>1702</Words>
  <Application>Microsoft Office PowerPoint</Application>
  <PresentationFormat>Widescreen</PresentationFormat>
  <Paragraphs>283</Paragraphs>
  <Slides>34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4" baseType="lpstr">
      <vt:lpstr>Aptos</vt:lpstr>
      <vt:lpstr>Arial</vt:lpstr>
      <vt:lpstr>Calibri</vt:lpstr>
      <vt:lpstr>Century Gothic</vt:lpstr>
      <vt:lpstr>system-ui</vt:lpstr>
      <vt:lpstr>Wingdings</vt:lpstr>
      <vt:lpstr>1_Office Theme</vt:lpstr>
      <vt:lpstr>1_Office Theme</vt:lpstr>
      <vt:lpstr>3_Office Theme</vt:lpstr>
      <vt:lpstr>think-cell Slide</vt:lpstr>
      <vt:lpstr>NCFS Insights</vt:lpstr>
      <vt:lpstr>Welcome</vt:lpstr>
      <vt:lpstr>Agenda</vt:lpstr>
      <vt:lpstr>NCFS Insights - Presenters</vt:lpstr>
      <vt:lpstr>Icebreaker</vt:lpstr>
      <vt:lpstr>EPay</vt:lpstr>
      <vt:lpstr>Review of the ePay Process </vt:lpstr>
      <vt:lpstr>Updates to the Security Verification Form</vt:lpstr>
      <vt:lpstr>Updates to ePay Inactivation Request Process</vt:lpstr>
      <vt:lpstr>ePay Reminders</vt:lpstr>
      <vt:lpstr>ePay Reminders – NC ePay Suppliers Report</vt:lpstr>
      <vt:lpstr>ePay Links</vt:lpstr>
      <vt:lpstr>Chart Maintenance - Disable</vt:lpstr>
      <vt:lpstr>Disable Account Combinations</vt:lpstr>
      <vt:lpstr>Disable Account Combination Template</vt:lpstr>
      <vt:lpstr>Disable Segment Values</vt:lpstr>
      <vt:lpstr>Disable Segment Value Template</vt:lpstr>
      <vt:lpstr>COA and Inquire on Detail Balance Links</vt:lpstr>
      <vt:lpstr>Year End &amp; BSR Project Updates</vt:lpstr>
      <vt:lpstr>Fiscal Year 2026 Closeout</vt:lpstr>
      <vt:lpstr>Fiscal Year End – Info Sessions</vt:lpstr>
      <vt:lpstr>Budget System Replacement Project - IBIS </vt:lpstr>
      <vt:lpstr>Budget System Replacement Project - Phases  </vt:lpstr>
      <vt:lpstr>NCFS Training</vt:lpstr>
      <vt:lpstr>Training Updates</vt:lpstr>
      <vt:lpstr>Organizational Change Management</vt:lpstr>
      <vt:lpstr>NCFS Spring Touchpoints </vt:lpstr>
      <vt:lpstr> April 2026 Functional Calendar </vt:lpstr>
      <vt:lpstr> May 2026 Functional Calendar </vt:lpstr>
      <vt:lpstr>NCFS 2026 Communications Page - General</vt:lpstr>
      <vt:lpstr>NCFS 2026 Communications Page</vt:lpstr>
      <vt:lpstr>Useful Links</vt:lpstr>
      <vt:lpstr>What's Next?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1 User Change Readiness Survey</dc:title>
  <dc:creator>Bosman, Kelli</dc:creator>
  <cp:lastModifiedBy>April Durrence</cp:lastModifiedBy>
  <cp:revision>2</cp:revision>
  <dcterms:created xsi:type="dcterms:W3CDTF">2020-11-18T19:08:20Z</dcterms:created>
  <dcterms:modified xsi:type="dcterms:W3CDTF">2026-04-30T20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FA4F08ADB9124B980220F50EFDEE06</vt:lpwstr>
  </property>
  <property fmtid="{D5CDD505-2E9C-101B-9397-08002B2CF9AE}" pid="3" name="_dlc_DocIdItemGuid">
    <vt:lpwstr>0bdb9aa9-1e67-44e0-a0d7-e25815919b2c</vt:lpwstr>
  </property>
  <property fmtid="{D5CDD505-2E9C-101B-9397-08002B2CF9AE}" pid="4" name="ArticulateGUID">
    <vt:lpwstr>0C8C4131-24D3-4909-A5E0-7472A64E5B91</vt:lpwstr>
  </property>
  <property fmtid="{D5CDD505-2E9C-101B-9397-08002B2CF9AE}" pid="5" name="ArticulatePath">
    <vt:lpwstr>Transfer Order Clarification Supporting Documentation</vt:lpwstr>
  </property>
  <property fmtid="{D5CDD505-2E9C-101B-9397-08002B2CF9AE}" pid="6" name="MediaServiceImageTags">
    <vt:lpwstr/>
  </property>
  <property fmtid="{D5CDD505-2E9C-101B-9397-08002B2CF9AE}" pid="7" name="MSIP_Label_8cf4a652-f7e0-491e-8e13-44afaf9aeba3_Enabled">
    <vt:lpwstr>true</vt:lpwstr>
  </property>
  <property fmtid="{D5CDD505-2E9C-101B-9397-08002B2CF9AE}" pid="8" name="MSIP_Label_8cf4a652-f7e0-491e-8e13-44afaf9aeba3_Method">
    <vt:lpwstr>Standard</vt:lpwstr>
  </property>
  <property fmtid="{D5CDD505-2E9C-101B-9397-08002B2CF9AE}" pid="9" name="MSIP_Label_8cf4a652-f7e0-491e-8e13-44afaf9aeba3_Name">
    <vt:lpwstr>Anyone</vt:lpwstr>
  </property>
  <property fmtid="{D5CDD505-2E9C-101B-9397-08002B2CF9AE}" pid="10" name="MSIP_Label_8cf4a652-f7e0-491e-8e13-44afaf9aeba3_SiteId">
    <vt:lpwstr>a1f43f48-54fe-433f-9378-968b45bc6665</vt:lpwstr>
  </property>
  <property fmtid="{D5CDD505-2E9C-101B-9397-08002B2CF9AE}" pid="11" name="MSIP_Label_8cf4a652-f7e0-491e-8e13-44afaf9aeba3_ActionId">
    <vt:lpwstr>8ee7aa86-4aac-4d3b-8e48-afbf99d6900b</vt:lpwstr>
  </property>
  <property fmtid="{D5CDD505-2E9C-101B-9397-08002B2CF9AE}" pid="12" name="MSIP_Label_8cf4a652-f7e0-491e-8e13-44afaf9aeba3_ContentBits">
    <vt:lpwstr>0</vt:lpwstr>
  </property>
  <property fmtid="{D5CDD505-2E9C-101B-9397-08002B2CF9AE}" pid="13" name="MSIP_Label_8cf4a652-f7e0-491e-8e13-44afaf9aeba3_Tag">
    <vt:lpwstr>10, 3, 0, 2</vt:lpwstr>
  </property>
  <property fmtid="{D5CDD505-2E9C-101B-9397-08002B2CF9AE}" pid="14" name="MSIP_Label_8cf4a652-f7e0-491e-8e13-44afaf9aeba3_SetDate">
    <vt:lpwstr>2026-03-26T13:26:19Z</vt:lpwstr>
  </property>
</Properties>
</file>